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4"/>
  </p:notesMasterIdLst>
  <p:sldIdLst>
    <p:sldId id="256" r:id="rId5"/>
    <p:sldId id="312" r:id="rId6"/>
    <p:sldId id="294" r:id="rId7"/>
    <p:sldId id="281" r:id="rId8"/>
    <p:sldId id="302" r:id="rId9"/>
    <p:sldId id="313" r:id="rId10"/>
    <p:sldId id="344" r:id="rId11"/>
    <p:sldId id="283" r:id="rId12"/>
    <p:sldId id="341" r:id="rId13"/>
    <p:sldId id="285" r:id="rId14"/>
    <p:sldId id="340" r:id="rId15"/>
    <p:sldId id="342" r:id="rId16"/>
    <p:sldId id="287" r:id="rId17"/>
    <p:sldId id="314" r:id="rId18"/>
    <p:sldId id="315" r:id="rId19"/>
    <p:sldId id="288" r:id="rId20"/>
    <p:sldId id="345" r:id="rId21"/>
    <p:sldId id="347" r:id="rId22"/>
    <p:sldId id="348" r:id="rId23"/>
  </p:sldIdLst>
  <p:sldSz cx="12192000" cy="6858000"/>
  <p:notesSz cx="9931400" cy="67945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aktisk informasjon" id="{B22CAE43-F521-4F0F-8731-8087EC72568F}">
          <p14:sldIdLst>
            <p14:sldId id="256"/>
            <p14:sldId id="312"/>
          </p14:sldIdLst>
        </p14:section>
        <p14:section name="Del 1: om prosessforbedring" id="{12BECCAC-CA84-47FA-82FE-DF072FABE2D2}">
          <p14:sldIdLst>
            <p14:sldId id="294"/>
            <p14:sldId id="281"/>
            <p14:sldId id="302"/>
            <p14:sldId id="313"/>
            <p14:sldId id="344"/>
            <p14:sldId id="283"/>
            <p14:sldId id="341"/>
            <p14:sldId id="285"/>
            <p14:sldId id="340"/>
          </p14:sldIdLst>
        </p14:section>
        <p14:section name="Del 2 kartlegging av nåsituasjon" id="{A75B7975-C983-44A8-A11A-6B4E573E43C4}">
          <p14:sldIdLst>
            <p14:sldId id="342"/>
            <p14:sldId id="287"/>
            <p14:sldId id="314"/>
            <p14:sldId id="315"/>
            <p14:sldId id="288"/>
            <p14:sldId id="345"/>
            <p14:sldId id="347"/>
            <p14:sldId id="34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882" autoAdjust="0"/>
    <p:restoredTop sz="93139" autoAdjust="0"/>
  </p:normalViewPr>
  <p:slideViewPr>
    <p:cSldViewPr snapToGrid="0">
      <p:cViewPr varScale="1">
        <p:scale>
          <a:sx n="112" d="100"/>
          <a:sy n="112" d="100"/>
        </p:scale>
        <p:origin x="900" y="102"/>
      </p:cViewPr>
      <p:guideLst>
        <p:guide orient="horz" pos="2160"/>
        <p:guide pos="3840"/>
      </p:guideLst>
    </p:cSldViewPr>
  </p:slideViewPr>
  <p:notesTextViewPr>
    <p:cViewPr>
      <p:scale>
        <a:sx n="1" d="1"/>
        <a:sy n="1" d="1"/>
      </p:scale>
      <p:origin x="0" y="0"/>
    </p:cViewPr>
  </p:notesTextViewPr>
  <p:sorterViewPr>
    <p:cViewPr>
      <p:scale>
        <a:sx n="200" d="100"/>
        <a:sy n="200" d="100"/>
      </p:scale>
      <p:origin x="0" y="3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ecilie Andersen" userId="S::cecilia@uio.no::a135a517-6408-40d0-81c7-02a75cc0902b" providerId="AD" clId="Web-{6D9F8048-D904-4AF8-938E-CC1034F2E95F}"/>
    <pc:docChg chg="addSld modSld modSection">
      <pc:chgData name="Cecilie Andersen" userId="S::cecilia@uio.no::a135a517-6408-40d0-81c7-02a75cc0902b" providerId="AD" clId="Web-{6D9F8048-D904-4AF8-938E-CC1034F2E95F}" dt="2018-11-30T12:00:21.407" v="8" actId="14100"/>
      <pc:docMkLst>
        <pc:docMk/>
      </pc:docMkLst>
      <pc:sldChg chg="addSp delSp modSp">
        <pc:chgData name="Cecilie Andersen" userId="S::cecilia@uio.no::a135a517-6408-40d0-81c7-02a75cc0902b" providerId="AD" clId="Web-{6D9F8048-D904-4AF8-938E-CC1034F2E95F}" dt="2018-11-30T11:59:33.954" v="1" actId="14100"/>
        <pc:sldMkLst>
          <pc:docMk/>
          <pc:sldMk cId="1007186593" sldId="345"/>
        </pc:sldMkLst>
        <pc:picChg chg="add del mod">
          <ac:chgData name="Cecilie Andersen" userId="S::cecilia@uio.no::a135a517-6408-40d0-81c7-02a75cc0902b" providerId="AD" clId="Web-{6D9F8048-D904-4AF8-938E-CC1034F2E95F}" dt="2018-11-30T11:59:33.954" v="1" actId="14100"/>
          <ac:picMkLst>
            <pc:docMk/>
            <pc:sldMk cId="1007186593" sldId="345"/>
            <ac:picMk id="4" creationId="{DDE6AA54-34F1-4162-A2B6-5A4D10A14611}"/>
          </ac:picMkLst>
        </pc:picChg>
      </pc:sldChg>
    </pc:docChg>
  </pc:docChgLst>
  <pc:docChgLst>
    <pc:chgData name="Cecilie Andersen" userId="a135a517-6408-40d0-81c7-02a75cc0902b" providerId="ADAL" clId="{85A4212B-33C1-4D30-A028-C06F4645C686}"/>
    <pc:docChg chg="custSel addSld modSld">
      <pc:chgData name="Cecilie Andersen" userId="a135a517-6408-40d0-81c7-02a75cc0902b" providerId="ADAL" clId="{85A4212B-33C1-4D30-A028-C06F4645C686}" dt="2018-12-08T16:14:50.983" v="45" actId="20577"/>
      <pc:docMkLst>
        <pc:docMk/>
      </pc:docMkLst>
      <pc:sldChg chg="modSp">
        <pc:chgData name="Cecilie Andersen" userId="a135a517-6408-40d0-81c7-02a75cc0902b" providerId="ADAL" clId="{85A4212B-33C1-4D30-A028-C06F4645C686}" dt="2018-12-08T16:13:00.449" v="0" actId="20577"/>
        <pc:sldMkLst>
          <pc:docMk/>
          <pc:sldMk cId="2588995828" sldId="313"/>
        </pc:sldMkLst>
        <pc:spChg chg="mod">
          <ac:chgData name="Cecilie Andersen" userId="a135a517-6408-40d0-81c7-02a75cc0902b" providerId="ADAL" clId="{85A4212B-33C1-4D30-A028-C06F4645C686}" dt="2018-12-08T16:13:00.449" v="0" actId="20577"/>
          <ac:spMkLst>
            <pc:docMk/>
            <pc:sldMk cId="2588995828" sldId="313"/>
            <ac:spMk id="3" creationId="{FAEC91E3-FA20-4DAA-8CE1-5DF519D62428}"/>
          </ac:spMkLst>
        </pc:spChg>
      </pc:sldChg>
      <pc:sldChg chg="modSp">
        <pc:chgData name="Cecilie Andersen" userId="a135a517-6408-40d0-81c7-02a75cc0902b" providerId="ADAL" clId="{85A4212B-33C1-4D30-A028-C06F4645C686}" dt="2018-12-08T16:13:27.061" v="5" actId="20577"/>
        <pc:sldMkLst>
          <pc:docMk/>
          <pc:sldMk cId="389716869" sldId="344"/>
        </pc:sldMkLst>
        <pc:spChg chg="mod">
          <ac:chgData name="Cecilie Andersen" userId="a135a517-6408-40d0-81c7-02a75cc0902b" providerId="ADAL" clId="{85A4212B-33C1-4D30-A028-C06F4645C686}" dt="2018-12-08T16:13:27.061" v="5" actId="20577"/>
          <ac:spMkLst>
            <pc:docMk/>
            <pc:sldMk cId="389716869" sldId="344"/>
            <ac:spMk id="6" creationId="{88947C58-3EB9-4A35-87CE-4847D6F9C4B6}"/>
          </ac:spMkLst>
        </pc:spChg>
      </pc:sldChg>
      <pc:sldChg chg="addSp delSp modSp add modTransition">
        <pc:chgData name="Cecilie Andersen" userId="a135a517-6408-40d0-81c7-02a75cc0902b" providerId="ADAL" clId="{85A4212B-33C1-4D30-A028-C06F4645C686}" dt="2018-12-08T16:14:50.983" v="45" actId="20577"/>
        <pc:sldMkLst>
          <pc:docMk/>
          <pc:sldMk cId="1992119345" sldId="348"/>
        </pc:sldMkLst>
        <pc:spChg chg="del">
          <ac:chgData name="Cecilie Andersen" userId="a135a517-6408-40d0-81c7-02a75cc0902b" providerId="ADAL" clId="{85A4212B-33C1-4D30-A028-C06F4645C686}" dt="2018-12-08T16:14:41.488" v="7"/>
          <ac:spMkLst>
            <pc:docMk/>
            <pc:sldMk cId="1992119345" sldId="348"/>
            <ac:spMk id="2" creationId="{046A4F6B-93F3-487C-8E15-8A49893DA172}"/>
          </ac:spMkLst>
        </pc:spChg>
        <pc:spChg chg="del">
          <ac:chgData name="Cecilie Andersen" userId="a135a517-6408-40d0-81c7-02a75cc0902b" providerId="ADAL" clId="{85A4212B-33C1-4D30-A028-C06F4645C686}" dt="2018-12-08T16:14:41.488" v="7"/>
          <ac:spMkLst>
            <pc:docMk/>
            <pc:sldMk cId="1992119345" sldId="348"/>
            <ac:spMk id="3" creationId="{7D9E0E6C-A8D0-4874-BAA1-235A7806B394}"/>
          </ac:spMkLst>
        </pc:spChg>
        <pc:spChg chg="del">
          <ac:chgData name="Cecilie Andersen" userId="a135a517-6408-40d0-81c7-02a75cc0902b" providerId="ADAL" clId="{85A4212B-33C1-4D30-A028-C06F4645C686}" dt="2018-12-08T16:14:41.488" v="7"/>
          <ac:spMkLst>
            <pc:docMk/>
            <pc:sldMk cId="1992119345" sldId="348"/>
            <ac:spMk id="4" creationId="{68D9350F-C1A3-4D3B-B6F7-4A5829DC316F}"/>
          </ac:spMkLst>
        </pc:spChg>
        <pc:spChg chg="add mod">
          <ac:chgData name="Cecilie Andersen" userId="a135a517-6408-40d0-81c7-02a75cc0902b" providerId="ADAL" clId="{85A4212B-33C1-4D30-A028-C06F4645C686}" dt="2018-12-08T16:14:50.983" v="45" actId="20577"/>
          <ac:spMkLst>
            <pc:docMk/>
            <pc:sldMk cId="1992119345" sldId="348"/>
            <ac:spMk id="5" creationId="{B7B3797A-CE81-42DE-BD10-57582658A6CC}"/>
          </ac:spMkLst>
        </pc:spChg>
        <pc:spChg chg="add mod">
          <ac:chgData name="Cecilie Andersen" userId="a135a517-6408-40d0-81c7-02a75cc0902b" providerId="ADAL" clId="{85A4212B-33C1-4D30-A028-C06F4645C686}" dt="2018-12-08T16:14:41.488" v="7"/>
          <ac:spMkLst>
            <pc:docMk/>
            <pc:sldMk cId="1992119345" sldId="348"/>
            <ac:spMk id="6" creationId="{366FD177-5BDD-4B3F-B22B-A934C3B5AD11}"/>
          </ac:spMkLst>
        </pc:spChg>
      </pc:sldChg>
    </pc:docChg>
  </pc:docChgLst>
  <pc:docChgLst>
    <pc:chgData name="Cecilie Andersen" userId="S::cecilia@uio.no::a135a517-6408-40d0-81c7-02a75cc0902b" providerId="AD" clId="Web-{2349D86A-FB0A-4A5E-B6FC-E78D36D7836E}"/>
    <pc:docChg chg="modSld">
      <pc:chgData name="Cecilie Andersen" userId="S::cecilia@uio.no::a135a517-6408-40d0-81c7-02a75cc0902b" providerId="AD" clId="Web-{2349D86A-FB0A-4A5E-B6FC-E78D36D7836E}" dt="2018-11-29T12:58:56.733" v="22"/>
      <pc:docMkLst>
        <pc:docMk/>
      </pc:docMkLst>
      <pc:sldChg chg="modSp">
        <pc:chgData name="Cecilie Andersen" userId="S::cecilia@uio.no::a135a517-6408-40d0-81c7-02a75cc0902b" providerId="AD" clId="Web-{2349D86A-FB0A-4A5E-B6FC-E78D36D7836E}" dt="2018-11-29T12:58:23.577" v="18" actId="20577"/>
        <pc:sldMkLst>
          <pc:docMk/>
          <pc:sldMk cId="4005007172" sldId="314"/>
        </pc:sldMkLst>
        <pc:spChg chg="mod">
          <ac:chgData name="Cecilie Andersen" userId="S::cecilia@uio.no::a135a517-6408-40d0-81c7-02a75cc0902b" providerId="AD" clId="Web-{2349D86A-FB0A-4A5E-B6FC-E78D36D7836E}" dt="2018-11-29T12:58:23.577" v="18" actId="20577"/>
          <ac:spMkLst>
            <pc:docMk/>
            <pc:sldMk cId="4005007172" sldId="314"/>
            <ac:spMk id="3" creationId="{FBF7B80E-D339-4812-9426-EECC7A94DD3C}"/>
          </ac:spMkLst>
        </pc:spChg>
      </pc:sldChg>
      <pc:sldChg chg="addSp delSp modSp">
        <pc:chgData name="Cecilie Andersen" userId="S::cecilia@uio.no::a135a517-6408-40d0-81c7-02a75cc0902b" providerId="AD" clId="Web-{2349D86A-FB0A-4A5E-B6FC-E78D36D7836E}" dt="2018-11-29T12:58:56.733" v="22"/>
        <pc:sldMkLst>
          <pc:docMk/>
          <pc:sldMk cId="389716869" sldId="344"/>
        </pc:sldMkLst>
        <pc:spChg chg="add del mod">
          <ac:chgData name="Cecilie Andersen" userId="S::cecilia@uio.no::a135a517-6408-40d0-81c7-02a75cc0902b" providerId="AD" clId="Web-{2349D86A-FB0A-4A5E-B6FC-E78D36D7836E}" dt="2018-11-29T12:58:48.999" v="21"/>
          <ac:spMkLst>
            <pc:docMk/>
            <pc:sldMk cId="389716869" sldId="344"/>
            <ac:spMk id="3" creationId="{BF50F35D-6A8A-48E8-939F-5E711AE646F7}"/>
          </ac:spMkLst>
        </pc:spChg>
        <pc:spChg chg="add">
          <ac:chgData name="Cecilie Andersen" userId="S::cecilia@uio.no::a135a517-6408-40d0-81c7-02a75cc0902b" providerId="AD" clId="Web-{2349D86A-FB0A-4A5E-B6FC-E78D36D7836E}" dt="2018-11-29T12:58:56.733" v="22"/>
          <ac:spMkLst>
            <pc:docMk/>
            <pc:sldMk cId="389716869" sldId="344"/>
            <ac:spMk id="6" creationId="{88947C58-3EB9-4A35-87CE-4847D6F9C4B6}"/>
          </ac:spMkLst>
        </pc:spChg>
      </pc:sldChg>
    </pc:docChg>
  </pc:docChgLst>
  <pc:docChgLst>
    <pc:chgData name="Cecilie Andersen" userId="S::cecilia@uio.no::a135a517-6408-40d0-81c7-02a75cc0902b" providerId="AD" clId="Web-{F22DAEFA-5CDC-4D83-B5B8-32A696F4C37C}"/>
    <pc:docChg chg="addSld modSld modSection">
      <pc:chgData name="Cecilie Andersen" userId="S::cecilia@uio.no::a135a517-6408-40d0-81c7-02a75cc0902b" providerId="AD" clId="Web-{F22DAEFA-5CDC-4D83-B5B8-32A696F4C37C}" dt="2018-11-23T12:45:28.488" v="7" actId="20577"/>
      <pc:docMkLst>
        <pc:docMk/>
      </pc:docMkLst>
      <pc:sldChg chg="modSp new">
        <pc:chgData name="Cecilie Andersen" userId="S::cecilia@uio.no::a135a517-6408-40d0-81c7-02a75cc0902b" providerId="AD" clId="Web-{F22DAEFA-5CDC-4D83-B5B8-32A696F4C37C}" dt="2018-11-23T12:45:28.488" v="7" actId="20577"/>
        <pc:sldMkLst>
          <pc:docMk/>
          <pc:sldMk cId="1007186593" sldId="345"/>
        </pc:sldMkLst>
        <pc:spChg chg="mod">
          <ac:chgData name="Cecilie Andersen" userId="S::cecilia@uio.no::a135a517-6408-40d0-81c7-02a75cc0902b" providerId="AD" clId="Web-{F22DAEFA-5CDC-4D83-B5B8-32A696F4C37C}" dt="2018-11-23T12:45:19.614" v="3" actId="20577"/>
          <ac:spMkLst>
            <pc:docMk/>
            <pc:sldMk cId="1007186593" sldId="345"/>
            <ac:spMk id="2" creationId="{D2B273B2-68ED-481B-A6FC-6EEB71FB7B0D}"/>
          </ac:spMkLst>
        </pc:spChg>
        <pc:spChg chg="mod">
          <ac:chgData name="Cecilie Andersen" userId="S::cecilia@uio.no::a135a517-6408-40d0-81c7-02a75cc0902b" providerId="AD" clId="Web-{F22DAEFA-5CDC-4D83-B5B8-32A696F4C37C}" dt="2018-11-23T12:45:28.488" v="7" actId="20577"/>
          <ac:spMkLst>
            <pc:docMk/>
            <pc:sldMk cId="1007186593" sldId="345"/>
            <ac:spMk id="3" creationId="{E5C76328-6A5F-4A80-8040-1D416E8962E1}"/>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E3080E-992F-4941-989C-531AED343C1A}"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GB"/>
        </a:p>
      </dgm:t>
    </dgm:pt>
    <dgm:pt modelId="{5B9C1A5A-7D07-43FD-993E-27B9F01EA38A}">
      <dgm:prSet phldrT="[Text]"/>
      <dgm:spPr>
        <a:solidFill>
          <a:schemeClr val="bg1"/>
        </a:solidFill>
        <a:ln w="38100">
          <a:solidFill>
            <a:schemeClr val="accent1">
              <a:lumMod val="90000"/>
            </a:schemeClr>
          </a:solidFill>
        </a:ln>
      </dgm:spPr>
      <dgm:t>
        <a:bodyPr/>
        <a:lstStyle/>
        <a:p>
          <a:r>
            <a:rPr lang="nb-NO">
              <a:solidFill>
                <a:schemeClr val="tx1"/>
              </a:solidFill>
            </a:rPr>
            <a:t>Rammer og formål</a:t>
          </a:r>
        </a:p>
        <a:p>
          <a:r>
            <a:rPr lang="nb-NO">
              <a:solidFill>
                <a:schemeClr val="tx1"/>
              </a:solidFill>
            </a:rPr>
            <a:t>Presentasjonsrunde og forventninger</a:t>
          </a:r>
          <a:endParaRPr lang="en-GB">
            <a:solidFill>
              <a:schemeClr val="tx1"/>
            </a:solidFill>
          </a:endParaRPr>
        </a:p>
      </dgm:t>
    </dgm:pt>
    <dgm:pt modelId="{72DEC2E2-776B-43E0-B6D0-865423347846}" type="parTrans" cxnId="{2B8E9EC5-A448-4285-AB4D-B556F267A347}">
      <dgm:prSet/>
      <dgm:spPr/>
      <dgm:t>
        <a:bodyPr/>
        <a:lstStyle/>
        <a:p>
          <a:endParaRPr lang="en-GB"/>
        </a:p>
      </dgm:t>
    </dgm:pt>
    <dgm:pt modelId="{2D5B76C0-8B49-4235-A8CD-E8AE2E1EA31A}" type="sibTrans" cxnId="{2B8E9EC5-A448-4285-AB4D-B556F267A347}">
      <dgm:prSet/>
      <dgm:spPr>
        <a:solidFill>
          <a:schemeClr val="accent1">
            <a:lumMod val="90000"/>
          </a:schemeClr>
        </a:solidFill>
      </dgm:spPr>
      <dgm:t>
        <a:bodyPr/>
        <a:lstStyle/>
        <a:p>
          <a:endParaRPr lang="en-GB">
            <a:solidFill>
              <a:schemeClr val="tx1"/>
            </a:solidFill>
          </a:endParaRPr>
        </a:p>
      </dgm:t>
    </dgm:pt>
    <dgm:pt modelId="{9FA66656-FFE1-4F4B-8B72-967635EC4029}">
      <dgm:prSet phldrT="[Text]"/>
      <dgm:spPr>
        <a:solidFill>
          <a:schemeClr val="bg1"/>
        </a:solidFill>
        <a:ln w="38100">
          <a:solidFill>
            <a:schemeClr val="accent1">
              <a:lumMod val="90000"/>
            </a:schemeClr>
          </a:solidFill>
        </a:ln>
      </dgm:spPr>
      <dgm:t>
        <a:bodyPr/>
        <a:lstStyle/>
        <a:p>
          <a:r>
            <a:rPr lang="nb-NO">
              <a:solidFill>
                <a:schemeClr val="tx1"/>
              </a:solidFill>
            </a:rPr>
            <a:t>Om prosessforbedring og UiOs prosessrammeverk</a:t>
          </a:r>
        </a:p>
      </dgm:t>
    </dgm:pt>
    <dgm:pt modelId="{A4E44D16-4C77-4F6F-A960-BE30ADBFE6E6}" type="parTrans" cxnId="{1D9E39FF-0F7D-454A-AD59-E5394343827F}">
      <dgm:prSet/>
      <dgm:spPr/>
      <dgm:t>
        <a:bodyPr/>
        <a:lstStyle/>
        <a:p>
          <a:endParaRPr lang="en-GB"/>
        </a:p>
      </dgm:t>
    </dgm:pt>
    <dgm:pt modelId="{01AFB1B8-0267-4BD7-8188-78E0C791BE9B}" type="sibTrans" cxnId="{1D9E39FF-0F7D-454A-AD59-E5394343827F}">
      <dgm:prSet/>
      <dgm:spPr/>
      <dgm:t>
        <a:bodyPr/>
        <a:lstStyle/>
        <a:p>
          <a:endParaRPr lang="en-GB"/>
        </a:p>
      </dgm:t>
    </dgm:pt>
    <dgm:pt modelId="{3DDFF875-A6F1-4C14-A23D-2929E074465E}">
      <dgm:prSet phldrT="[Text]"/>
      <dgm:spPr>
        <a:solidFill>
          <a:schemeClr val="bg1"/>
        </a:solidFill>
        <a:ln w="38100">
          <a:solidFill>
            <a:schemeClr val="accent1">
              <a:lumMod val="90000"/>
            </a:schemeClr>
          </a:solidFill>
        </a:ln>
      </dgm:spPr>
      <dgm:t>
        <a:bodyPr/>
        <a:lstStyle/>
        <a:p>
          <a:r>
            <a:rPr lang="nb-NO" dirty="0">
              <a:solidFill>
                <a:schemeClr val="tx1"/>
              </a:solidFill>
            </a:rPr>
            <a:t>Kartlegging av nåsituasjon</a:t>
          </a:r>
          <a:endParaRPr lang="en-GB" dirty="0">
            <a:solidFill>
              <a:schemeClr val="tx1"/>
            </a:solidFill>
          </a:endParaRPr>
        </a:p>
      </dgm:t>
    </dgm:pt>
    <dgm:pt modelId="{3EC41682-6B9D-44C3-80E4-D473E1CC1FB6}" type="parTrans" cxnId="{E28F80F9-BD9C-44E0-ACDB-C2194D43497E}">
      <dgm:prSet/>
      <dgm:spPr/>
      <dgm:t>
        <a:bodyPr/>
        <a:lstStyle/>
        <a:p>
          <a:endParaRPr lang="en-GB"/>
        </a:p>
      </dgm:t>
    </dgm:pt>
    <dgm:pt modelId="{C00AA3F0-7C67-4661-9257-D1F8DF60D50F}" type="sibTrans" cxnId="{E28F80F9-BD9C-44E0-ACDB-C2194D43497E}">
      <dgm:prSet/>
      <dgm:spPr/>
      <dgm:t>
        <a:bodyPr/>
        <a:lstStyle/>
        <a:p>
          <a:endParaRPr lang="en-GB"/>
        </a:p>
      </dgm:t>
    </dgm:pt>
    <dgm:pt modelId="{1BFCA40D-9B58-4082-AED1-3567659992ED}">
      <dgm:prSet/>
      <dgm:spPr>
        <a:solidFill>
          <a:schemeClr val="bg1"/>
        </a:solidFill>
        <a:ln w="38100">
          <a:solidFill>
            <a:schemeClr val="accent1">
              <a:lumMod val="90000"/>
            </a:schemeClr>
          </a:solidFill>
        </a:ln>
      </dgm:spPr>
      <dgm:t>
        <a:bodyPr/>
        <a:lstStyle/>
        <a:p>
          <a:r>
            <a:rPr lang="nb-NO">
              <a:solidFill>
                <a:schemeClr val="tx1"/>
              </a:solidFill>
            </a:rPr>
            <a:t>Om vår prosess</a:t>
          </a:r>
          <a:endParaRPr lang="en-GB">
            <a:solidFill>
              <a:schemeClr val="tx1"/>
            </a:solidFill>
          </a:endParaRPr>
        </a:p>
      </dgm:t>
    </dgm:pt>
    <dgm:pt modelId="{DC72CCDA-1178-4DD7-9ECA-FFD547C78DEB}" type="parTrans" cxnId="{E46D5C0D-86AA-41FC-982B-64A422D7F594}">
      <dgm:prSet/>
      <dgm:spPr/>
      <dgm:t>
        <a:bodyPr/>
        <a:lstStyle/>
        <a:p>
          <a:endParaRPr lang="en-GB"/>
        </a:p>
      </dgm:t>
    </dgm:pt>
    <dgm:pt modelId="{9A161888-CF16-49C7-B229-74F111942439}" type="sibTrans" cxnId="{E46D5C0D-86AA-41FC-982B-64A422D7F594}">
      <dgm:prSet/>
      <dgm:spPr/>
      <dgm:t>
        <a:bodyPr/>
        <a:lstStyle/>
        <a:p>
          <a:endParaRPr lang="en-GB"/>
        </a:p>
      </dgm:t>
    </dgm:pt>
    <dgm:pt modelId="{0B0581FA-81C6-435D-B7E9-400674D9FC02}" type="pres">
      <dgm:prSet presAssocID="{A0E3080E-992F-4941-989C-531AED343C1A}" presName="Name0" presStyleCnt="0">
        <dgm:presLayoutVars>
          <dgm:chMax val="7"/>
          <dgm:chPref val="7"/>
          <dgm:dir/>
        </dgm:presLayoutVars>
      </dgm:prSet>
      <dgm:spPr/>
      <dgm:t>
        <a:bodyPr/>
        <a:lstStyle/>
        <a:p>
          <a:endParaRPr lang="en-US"/>
        </a:p>
      </dgm:t>
    </dgm:pt>
    <dgm:pt modelId="{EB758CDE-DC54-471B-95B8-127860AF5720}" type="pres">
      <dgm:prSet presAssocID="{A0E3080E-992F-4941-989C-531AED343C1A}" presName="Name1" presStyleCnt="0"/>
      <dgm:spPr/>
    </dgm:pt>
    <dgm:pt modelId="{CEB318B4-094F-4855-BDB8-CA342A225568}" type="pres">
      <dgm:prSet presAssocID="{A0E3080E-992F-4941-989C-531AED343C1A}" presName="cycle" presStyleCnt="0"/>
      <dgm:spPr/>
    </dgm:pt>
    <dgm:pt modelId="{FF679621-440D-433A-AA1D-3BCBDEEE8FFF}" type="pres">
      <dgm:prSet presAssocID="{A0E3080E-992F-4941-989C-531AED343C1A}" presName="srcNode" presStyleLbl="node1" presStyleIdx="0" presStyleCnt="4"/>
      <dgm:spPr/>
    </dgm:pt>
    <dgm:pt modelId="{1CD4F6FC-8766-437A-A42D-6D712AF2A0BD}" type="pres">
      <dgm:prSet presAssocID="{A0E3080E-992F-4941-989C-531AED343C1A}" presName="conn" presStyleLbl="parChTrans1D2" presStyleIdx="0" presStyleCnt="1"/>
      <dgm:spPr/>
      <dgm:t>
        <a:bodyPr/>
        <a:lstStyle/>
        <a:p>
          <a:endParaRPr lang="en-US"/>
        </a:p>
      </dgm:t>
    </dgm:pt>
    <dgm:pt modelId="{58FF878C-68EB-4AC1-A1EE-7E641420490A}" type="pres">
      <dgm:prSet presAssocID="{A0E3080E-992F-4941-989C-531AED343C1A}" presName="extraNode" presStyleLbl="node1" presStyleIdx="0" presStyleCnt="4"/>
      <dgm:spPr/>
    </dgm:pt>
    <dgm:pt modelId="{2337BD4E-20B7-47B4-8CEC-8F76B4BC604A}" type="pres">
      <dgm:prSet presAssocID="{A0E3080E-992F-4941-989C-531AED343C1A}" presName="dstNode" presStyleLbl="node1" presStyleIdx="0" presStyleCnt="4"/>
      <dgm:spPr/>
    </dgm:pt>
    <dgm:pt modelId="{5DB9456C-3EC9-475D-BFDC-AF60BD329949}" type="pres">
      <dgm:prSet presAssocID="{5B9C1A5A-7D07-43FD-993E-27B9F01EA38A}" presName="text_1" presStyleLbl="node1" presStyleIdx="0" presStyleCnt="4">
        <dgm:presLayoutVars>
          <dgm:bulletEnabled val="1"/>
        </dgm:presLayoutVars>
      </dgm:prSet>
      <dgm:spPr/>
      <dgm:t>
        <a:bodyPr/>
        <a:lstStyle/>
        <a:p>
          <a:endParaRPr lang="en-US"/>
        </a:p>
      </dgm:t>
    </dgm:pt>
    <dgm:pt modelId="{0687C1B7-5068-475B-8038-9B28545A2AB8}" type="pres">
      <dgm:prSet presAssocID="{5B9C1A5A-7D07-43FD-993E-27B9F01EA38A}" presName="accent_1" presStyleCnt="0"/>
      <dgm:spPr/>
    </dgm:pt>
    <dgm:pt modelId="{C0C21EBF-9AAD-45F8-8DDD-CF5B3E5149D4}" type="pres">
      <dgm:prSet presAssocID="{5B9C1A5A-7D07-43FD-993E-27B9F01EA38A}" presName="accentRepeatNode" presStyleLbl="solidFgAcc1" presStyleIdx="0" presStyleCnt="4"/>
      <dgm:spPr>
        <a:solidFill>
          <a:schemeClr val="bg1"/>
        </a:solidFill>
      </dgm:spPr>
    </dgm:pt>
    <dgm:pt modelId="{20D0B394-F4C0-4867-BA50-92B93571DD68}" type="pres">
      <dgm:prSet presAssocID="{9FA66656-FFE1-4F4B-8B72-967635EC4029}" presName="text_2" presStyleLbl="node1" presStyleIdx="1" presStyleCnt="4">
        <dgm:presLayoutVars>
          <dgm:bulletEnabled val="1"/>
        </dgm:presLayoutVars>
      </dgm:prSet>
      <dgm:spPr/>
      <dgm:t>
        <a:bodyPr/>
        <a:lstStyle/>
        <a:p>
          <a:endParaRPr lang="en-US"/>
        </a:p>
      </dgm:t>
    </dgm:pt>
    <dgm:pt modelId="{4241C50C-1E44-4065-8BB5-8A6342915598}" type="pres">
      <dgm:prSet presAssocID="{9FA66656-FFE1-4F4B-8B72-967635EC4029}" presName="accent_2" presStyleCnt="0"/>
      <dgm:spPr/>
    </dgm:pt>
    <dgm:pt modelId="{13527A81-4AD9-4988-AB08-017C8A033FC4}" type="pres">
      <dgm:prSet presAssocID="{9FA66656-FFE1-4F4B-8B72-967635EC4029}" presName="accentRepeatNode" presStyleLbl="solidFgAcc1" presStyleIdx="1" presStyleCnt="4"/>
      <dgm:spPr>
        <a:solidFill>
          <a:schemeClr val="bg1"/>
        </a:solidFill>
      </dgm:spPr>
    </dgm:pt>
    <dgm:pt modelId="{105CE695-27EF-49F2-92DC-705060781218}" type="pres">
      <dgm:prSet presAssocID="{1BFCA40D-9B58-4082-AED1-3567659992ED}" presName="text_3" presStyleLbl="node1" presStyleIdx="2" presStyleCnt="4">
        <dgm:presLayoutVars>
          <dgm:bulletEnabled val="1"/>
        </dgm:presLayoutVars>
      </dgm:prSet>
      <dgm:spPr/>
      <dgm:t>
        <a:bodyPr/>
        <a:lstStyle/>
        <a:p>
          <a:endParaRPr lang="en-US"/>
        </a:p>
      </dgm:t>
    </dgm:pt>
    <dgm:pt modelId="{FF9010C5-56CE-4B7A-BBB7-0C1458C6CCE1}" type="pres">
      <dgm:prSet presAssocID="{1BFCA40D-9B58-4082-AED1-3567659992ED}" presName="accent_3" presStyleCnt="0"/>
      <dgm:spPr/>
    </dgm:pt>
    <dgm:pt modelId="{B7157A48-DADC-4C07-93FB-D2BF6B499A2F}" type="pres">
      <dgm:prSet presAssocID="{1BFCA40D-9B58-4082-AED1-3567659992ED}" presName="accentRepeatNode" presStyleLbl="solidFgAcc1" presStyleIdx="2" presStyleCnt="4"/>
      <dgm:spPr>
        <a:solidFill>
          <a:schemeClr val="bg1"/>
        </a:solidFill>
      </dgm:spPr>
    </dgm:pt>
    <dgm:pt modelId="{3ACA6833-EDB9-499A-BD13-316FE33C6A94}" type="pres">
      <dgm:prSet presAssocID="{3DDFF875-A6F1-4C14-A23D-2929E074465E}" presName="text_4" presStyleLbl="node1" presStyleIdx="3" presStyleCnt="4">
        <dgm:presLayoutVars>
          <dgm:bulletEnabled val="1"/>
        </dgm:presLayoutVars>
      </dgm:prSet>
      <dgm:spPr/>
      <dgm:t>
        <a:bodyPr/>
        <a:lstStyle/>
        <a:p>
          <a:endParaRPr lang="en-US"/>
        </a:p>
      </dgm:t>
    </dgm:pt>
    <dgm:pt modelId="{CD644431-ABAB-40B0-8652-B5AD493FE03C}" type="pres">
      <dgm:prSet presAssocID="{3DDFF875-A6F1-4C14-A23D-2929E074465E}" presName="accent_4" presStyleCnt="0"/>
      <dgm:spPr/>
    </dgm:pt>
    <dgm:pt modelId="{7D59984E-B51F-4E6C-ABE2-019B4A4195DB}" type="pres">
      <dgm:prSet presAssocID="{3DDFF875-A6F1-4C14-A23D-2929E074465E}" presName="accentRepeatNode" presStyleLbl="solidFgAcc1" presStyleIdx="3" presStyleCnt="4"/>
      <dgm:spPr>
        <a:solidFill>
          <a:schemeClr val="bg1"/>
        </a:solidFill>
      </dgm:spPr>
    </dgm:pt>
  </dgm:ptLst>
  <dgm:cxnLst>
    <dgm:cxn modelId="{4F268B9D-27F4-4851-B8C1-1E8512286647}" type="presOf" srcId="{1BFCA40D-9B58-4082-AED1-3567659992ED}" destId="{105CE695-27EF-49F2-92DC-705060781218}" srcOrd="0" destOrd="0" presId="urn:microsoft.com/office/officeart/2008/layout/VerticalCurvedList"/>
    <dgm:cxn modelId="{E28F80F9-BD9C-44E0-ACDB-C2194D43497E}" srcId="{A0E3080E-992F-4941-989C-531AED343C1A}" destId="{3DDFF875-A6F1-4C14-A23D-2929E074465E}" srcOrd="3" destOrd="0" parTransId="{3EC41682-6B9D-44C3-80E4-D473E1CC1FB6}" sibTransId="{C00AA3F0-7C67-4661-9257-D1F8DF60D50F}"/>
    <dgm:cxn modelId="{BE1C0E9B-8870-451D-AC38-50BBD5355FBE}" type="presOf" srcId="{2D5B76C0-8B49-4235-A8CD-E8AE2E1EA31A}" destId="{1CD4F6FC-8766-437A-A42D-6D712AF2A0BD}" srcOrd="0" destOrd="0" presId="urn:microsoft.com/office/officeart/2008/layout/VerticalCurvedList"/>
    <dgm:cxn modelId="{DB738F03-6CA7-4A13-B738-8C6E8685D530}" type="presOf" srcId="{5B9C1A5A-7D07-43FD-993E-27B9F01EA38A}" destId="{5DB9456C-3EC9-475D-BFDC-AF60BD329949}" srcOrd="0" destOrd="0" presId="urn:microsoft.com/office/officeart/2008/layout/VerticalCurvedList"/>
    <dgm:cxn modelId="{2B8E9EC5-A448-4285-AB4D-B556F267A347}" srcId="{A0E3080E-992F-4941-989C-531AED343C1A}" destId="{5B9C1A5A-7D07-43FD-993E-27B9F01EA38A}" srcOrd="0" destOrd="0" parTransId="{72DEC2E2-776B-43E0-B6D0-865423347846}" sibTransId="{2D5B76C0-8B49-4235-A8CD-E8AE2E1EA31A}"/>
    <dgm:cxn modelId="{EF98B055-5E96-4747-B0FB-9E48B71A8767}" type="presOf" srcId="{A0E3080E-992F-4941-989C-531AED343C1A}" destId="{0B0581FA-81C6-435D-B7E9-400674D9FC02}" srcOrd="0" destOrd="0" presId="urn:microsoft.com/office/officeart/2008/layout/VerticalCurvedList"/>
    <dgm:cxn modelId="{858427A4-4916-4F62-98C0-977D649F9525}" type="presOf" srcId="{9FA66656-FFE1-4F4B-8B72-967635EC4029}" destId="{20D0B394-F4C0-4867-BA50-92B93571DD68}" srcOrd="0" destOrd="0" presId="urn:microsoft.com/office/officeart/2008/layout/VerticalCurvedList"/>
    <dgm:cxn modelId="{1D9E39FF-0F7D-454A-AD59-E5394343827F}" srcId="{A0E3080E-992F-4941-989C-531AED343C1A}" destId="{9FA66656-FFE1-4F4B-8B72-967635EC4029}" srcOrd="1" destOrd="0" parTransId="{A4E44D16-4C77-4F6F-A960-BE30ADBFE6E6}" sibTransId="{01AFB1B8-0267-4BD7-8188-78E0C791BE9B}"/>
    <dgm:cxn modelId="{E46D5C0D-86AA-41FC-982B-64A422D7F594}" srcId="{A0E3080E-992F-4941-989C-531AED343C1A}" destId="{1BFCA40D-9B58-4082-AED1-3567659992ED}" srcOrd="2" destOrd="0" parTransId="{DC72CCDA-1178-4DD7-9ECA-FFD547C78DEB}" sibTransId="{9A161888-CF16-49C7-B229-74F111942439}"/>
    <dgm:cxn modelId="{86A6808A-FBA7-49D1-A6CF-3631AA30E9C7}" type="presOf" srcId="{3DDFF875-A6F1-4C14-A23D-2929E074465E}" destId="{3ACA6833-EDB9-499A-BD13-316FE33C6A94}" srcOrd="0" destOrd="0" presId="urn:microsoft.com/office/officeart/2008/layout/VerticalCurvedList"/>
    <dgm:cxn modelId="{8EBA3157-8EF0-40C6-AFBE-11B76B61133E}" type="presParOf" srcId="{0B0581FA-81C6-435D-B7E9-400674D9FC02}" destId="{EB758CDE-DC54-471B-95B8-127860AF5720}" srcOrd="0" destOrd="0" presId="urn:microsoft.com/office/officeart/2008/layout/VerticalCurvedList"/>
    <dgm:cxn modelId="{6BDAB495-D7C5-48A4-838C-2D1DE012518D}" type="presParOf" srcId="{EB758CDE-DC54-471B-95B8-127860AF5720}" destId="{CEB318B4-094F-4855-BDB8-CA342A225568}" srcOrd="0" destOrd="0" presId="urn:microsoft.com/office/officeart/2008/layout/VerticalCurvedList"/>
    <dgm:cxn modelId="{BE12BF0F-AE72-4467-BF54-AC93020F27F9}" type="presParOf" srcId="{CEB318B4-094F-4855-BDB8-CA342A225568}" destId="{FF679621-440D-433A-AA1D-3BCBDEEE8FFF}" srcOrd="0" destOrd="0" presId="urn:microsoft.com/office/officeart/2008/layout/VerticalCurvedList"/>
    <dgm:cxn modelId="{8F3BF7E3-996B-4DDF-8A6F-CA4D0E27CD74}" type="presParOf" srcId="{CEB318B4-094F-4855-BDB8-CA342A225568}" destId="{1CD4F6FC-8766-437A-A42D-6D712AF2A0BD}" srcOrd="1" destOrd="0" presId="urn:microsoft.com/office/officeart/2008/layout/VerticalCurvedList"/>
    <dgm:cxn modelId="{60C97E29-7311-4DC7-9B2C-81882F92497C}" type="presParOf" srcId="{CEB318B4-094F-4855-BDB8-CA342A225568}" destId="{58FF878C-68EB-4AC1-A1EE-7E641420490A}" srcOrd="2" destOrd="0" presId="urn:microsoft.com/office/officeart/2008/layout/VerticalCurvedList"/>
    <dgm:cxn modelId="{5F0E19AD-B0C0-4F8D-A273-EE527D48C9CE}" type="presParOf" srcId="{CEB318B4-094F-4855-BDB8-CA342A225568}" destId="{2337BD4E-20B7-47B4-8CEC-8F76B4BC604A}" srcOrd="3" destOrd="0" presId="urn:microsoft.com/office/officeart/2008/layout/VerticalCurvedList"/>
    <dgm:cxn modelId="{EB20D279-46C2-46B0-89DB-0A66F04A6B6E}" type="presParOf" srcId="{EB758CDE-DC54-471B-95B8-127860AF5720}" destId="{5DB9456C-3EC9-475D-BFDC-AF60BD329949}" srcOrd="1" destOrd="0" presId="urn:microsoft.com/office/officeart/2008/layout/VerticalCurvedList"/>
    <dgm:cxn modelId="{69697AFD-ED84-4086-986A-A5B693C366C2}" type="presParOf" srcId="{EB758CDE-DC54-471B-95B8-127860AF5720}" destId="{0687C1B7-5068-475B-8038-9B28545A2AB8}" srcOrd="2" destOrd="0" presId="urn:microsoft.com/office/officeart/2008/layout/VerticalCurvedList"/>
    <dgm:cxn modelId="{2E3810EF-FAAD-407E-939C-58AD1F5B8866}" type="presParOf" srcId="{0687C1B7-5068-475B-8038-9B28545A2AB8}" destId="{C0C21EBF-9AAD-45F8-8DDD-CF5B3E5149D4}" srcOrd="0" destOrd="0" presId="urn:microsoft.com/office/officeart/2008/layout/VerticalCurvedList"/>
    <dgm:cxn modelId="{C20F9F64-6377-4763-B8F7-34A70BAE6504}" type="presParOf" srcId="{EB758CDE-DC54-471B-95B8-127860AF5720}" destId="{20D0B394-F4C0-4867-BA50-92B93571DD68}" srcOrd="3" destOrd="0" presId="urn:microsoft.com/office/officeart/2008/layout/VerticalCurvedList"/>
    <dgm:cxn modelId="{4B7D867D-358D-49F9-9071-FE49A4A54289}" type="presParOf" srcId="{EB758CDE-DC54-471B-95B8-127860AF5720}" destId="{4241C50C-1E44-4065-8BB5-8A6342915598}" srcOrd="4" destOrd="0" presId="urn:microsoft.com/office/officeart/2008/layout/VerticalCurvedList"/>
    <dgm:cxn modelId="{E2CBA7D5-C77D-458E-9055-E6BD6F11F078}" type="presParOf" srcId="{4241C50C-1E44-4065-8BB5-8A6342915598}" destId="{13527A81-4AD9-4988-AB08-017C8A033FC4}" srcOrd="0" destOrd="0" presId="urn:microsoft.com/office/officeart/2008/layout/VerticalCurvedList"/>
    <dgm:cxn modelId="{3514B1E8-B197-48F5-9BE3-0768147678C8}" type="presParOf" srcId="{EB758CDE-DC54-471B-95B8-127860AF5720}" destId="{105CE695-27EF-49F2-92DC-705060781218}" srcOrd="5" destOrd="0" presId="urn:microsoft.com/office/officeart/2008/layout/VerticalCurvedList"/>
    <dgm:cxn modelId="{B9CF711B-5441-4B0A-81FD-FE7FC3D25978}" type="presParOf" srcId="{EB758CDE-DC54-471B-95B8-127860AF5720}" destId="{FF9010C5-56CE-4B7A-BBB7-0C1458C6CCE1}" srcOrd="6" destOrd="0" presId="urn:microsoft.com/office/officeart/2008/layout/VerticalCurvedList"/>
    <dgm:cxn modelId="{B7605D03-EAC6-4222-985B-EBD303FAFE29}" type="presParOf" srcId="{FF9010C5-56CE-4B7A-BBB7-0C1458C6CCE1}" destId="{B7157A48-DADC-4C07-93FB-D2BF6B499A2F}" srcOrd="0" destOrd="0" presId="urn:microsoft.com/office/officeart/2008/layout/VerticalCurvedList"/>
    <dgm:cxn modelId="{B3357CAC-C285-4EAC-89B3-DBC0135EA68F}" type="presParOf" srcId="{EB758CDE-DC54-471B-95B8-127860AF5720}" destId="{3ACA6833-EDB9-499A-BD13-316FE33C6A94}" srcOrd="7" destOrd="0" presId="urn:microsoft.com/office/officeart/2008/layout/VerticalCurvedList"/>
    <dgm:cxn modelId="{006880B3-2D62-4978-A4E2-344BCB033F98}" type="presParOf" srcId="{EB758CDE-DC54-471B-95B8-127860AF5720}" destId="{CD644431-ABAB-40B0-8652-B5AD493FE03C}" srcOrd="8" destOrd="0" presId="urn:microsoft.com/office/officeart/2008/layout/VerticalCurvedList"/>
    <dgm:cxn modelId="{1B42E916-69FC-4486-89C0-F12CF841484B}" type="presParOf" srcId="{CD644431-ABAB-40B0-8652-B5AD493FE03C}" destId="{7D59984E-B51F-4E6C-ABE2-019B4A4195DB}"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ED4A2CE0-2BA5-46D8-9D72-809ED47A378F}" type="doc">
      <dgm:prSet loTypeId="urn:microsoft.com/office/officeart/2005/8/layout/hChevron3" loCatId="process" qsTypeId="urn:microsoft.com/office/officeart/2005/8/quickstyle/simple1" qsCatId="simple" csTypeId="urn:microsoft.com/office/officeart/2005/8/colors/accent1_2" csCatId="accent1" phldr="1"/>
      <dgm:spPr/>
      <dgm:t>
        <a:bodyPr/>
        <a:lstStyle/>
        <a:p>
          <a:endParaRPr lang="en-GB"/>
        </a:p>
      </dgm:t>
    </dgm:pt>
    <dgm:pt modelId="{9650BB08-BAEB-4584-A180-B7378F3732AB}">
      <dgm:prSet phldrT="[Text]"/>
      <dgm:spPr>
        <a:solidFill>
          <a:schemeClr val="bg1">
            <a:lumMod val="85000"/>
          </a:schemeClr>
        </a:solidFill>
      </dgm:spPr>
      <dgm:t>
        <a:bodyPr/>
        <a:lstStyle/>
        <a:p>
          <a:r>
            <a:rPr lang="nb-NO" dirty="0">
              <a:solidFill>
                <a:schemeClr val="tx1"/>
              </a:solidFill>
            </a:rPr>
            <a:t>WS 1 </a:t>
          </a:r>
        </a:p>
        <a:p>
          <a:r>
            <a:rPr lang="nb-NO" dirty="0">
              <a:solidFill>
                <a:schemeClr val="tx1"/>
              </a:solidFill>
            </a:rPr>
            <a:t>dato</a:t>
          </a:r>
          <a:endParaRPr lang="en-GB" dirty="0">
            <a:solidFill>
              <a:schemeClr val="tx1"/>
            </a:solidFill>
          </a:endParaRPr>
        </a:p>
      </dgm:t>
    </dgm:pt>
    <dgm:pt modelId="{73D090E3-6196-47DC-852F-FBA7B3B9B361}" type="parTrans" cxnId="{F2A6D58B-02D0-4450-AE39-08CD7D5F2996}">
      <dgm:prSet/>
      <dgm:spPr/>
      <dgm:t>
        <a:bodyPr/>
        <a:lstStyle/>
        <a:p>
          <a:endParaRPr lang="en-GB"/>
        </a:p>
      </dgm:t>
    </dgm:pt>
    <dgm:pt modelId="{E0F16DC7-F4AE-4D4E-ADE1-4A7F516CEDDD}" type="sibTrans" cxnId="{F2A6D58B-02D0-4450-AE39-08CD7D5F2996}">
      <dgm:prSet/>
      <dgm:spPr/>
      <dgm:t>
        <a:bodyPr/>
        <a:lstStyle/>
        <a:p>
          <a:endParaRPr lang="en-GB"/>
        </a:p>
      </dgm:t>
    </dgm:pt>
    <dgm:pt modelId="{EE00EAAF-3199-4436-B45B-4E127BCD9AF3}">
      <dgm:prSet phldrT="[Text]"/>
      <dgm:spPr>
        <a:solidFill>
          <a:schemeClr val="bg1">
            <a:lumMod val="85000"/>
          </a:schemeClr>
        </a:solidFill>
      </dgm:spPr>
      <dgm:t>
        <a:bodyPr/>
        <a:lstStyle/>
        <a:p>
          <a:r>
            <a:rPr lang="nb-NO" dirty="0">
              <a:solidFill>
                <a:schemeClr val="tx1"/>
              </a:solidFill>
            </a:rPr>
            <a:t>WS 2 dato</a:t>
          </a:r>
          <a:endParaRPr lang="en-GB" dirty="0">
            <a:solidFill>
              <a:schemeClr val="tx1"/>
            </a:solidFill>
          </a:endParaRPr>
        </a:p>
      </dgm:t>
    </dgm:pt>
    <dgm:pt modelId="{232B7058-0171-46F8-9062-DB7840D75977}" type="parTrans" cxnId="{765FD3A4-A41D-462D-ACDB-9F7BAC49701B}">
      <dgm:prSet/>
      <dgm:spPr/>
      <dgm:t>
        <a:bodyPr/>
        <a:lstStyle/>
        <a:p>
          <a:endParaRPr lang="en-GB"/>
        </a:p>
      </dgm:t>
    </dgm:pt>
    <dgm:pt modelId="{62FA8E63-A224-480B-AFEE-9FD5E14BEFD0}" type="sibTrans" cxnId="{765FD3A4-A41D-462D-ACDB-9F7BAC49701B}">
      <dgm:prSet/>
      <dgm:spPr/>
      <dgm:t>
        <a:bodyPr/>
        <a:lstStyle/>
        <a:p>
          <a:endParaRPr lang="en-GB"/>
        </a:p>
      </dgm:t>
    </dgm:pt>
    <dgm:pt modelId="{ABCC4F85-C200-4C8C-8404-58FF1AC564F2}">
      <dgm:prSet phldrT="[Text]"/>
      <dgm:spPr>
        <a:solidFill>
          <a:schemeClr val="bg1">
            <a:lumMod val="85000"/>
          </a:schemeClr>
        </a:solidFill>
      </dgm:spPr>
      <dgm:t>
        <a:bodyPr/>
        <a:lstStyle/>
        <a:p>
          <a:r>
            <a:rPr lang="nb-NO" dirty="0">
              <a:solidFill>
                <a:schemeClr val="tx1"/>
              </a:solidFill>
            </a:rPr>
            <a:t>WS 3 dato</a:t>
          </a:r>
          <a:endParaRPr lang="en-GB" dirty="0">
            <a:solidFill>
              <a:schemeClr val="tx1"/>
            </a:solidFill>
          </a:endParaRPr>
        </a:p>
      </dgm:t>
    </dgm:pt>
    <dgm:pt modelId="{C5F712D1-CBC7-4C42-8500-3FA91E725A19}" type="parTrans" cxnId="{6521ACD1-5D50-4965-A247-04014D04DB25}">
      <dgm:prSet/>
      <dgm:spPr/>
      <dgm:t>
        <a:bodyPr/>
        <a:lstStyle/>
        <a:p>
          <a:endParaRPr lang="en-GB"/>
        </a:p>
      </dgm:t>
    </dgm:pt>
    <dgm:pt modelId="{53D60DF3-2DE8-4DA6-BD61-4591E21524AE}" type="sibTrans" cxnId="{6521ACD1-5D50-4965-A247-04014D04DB25}">
      <dgm:prSet/>
      <dgm:spPr/>
      <dgm:t>
        <a:bodyPr/>
        <a:lstStyle/>
        <a:p>
          <a:endParaRPr lang="en-GB"/>
        </a:p>
      </dgm:t>
    </dgm:pt>
    <dgm:pt modelId="{CBE8A488-0887-4FF6-8A52-38EBE35478F5}">
      <dgm:prSet/>
      <dgm:spPr>
        <a:solidFill>
          <a:schemeClr val="bg1">
            <a:lumMod val="85000"/>
          </a:schemeClr>
        </a:solidFill>
      </dgm:spPr>
      <dgm:t>
        <a:bodyPr/>
        <a:lstStyle/>
        <a:p>
          <a:r>
            <a:rPr lang="nb-NO" dirty="0">
              <a:solidFill>
                <a:schemeClr val="tx1"/>
              </a:solidFill>
            </a:rPr>
            <a:t>WS 4 dato</a:t>
          </a:r>
          <a:endParaRPr lang="en-GB" dirty="0">
            <a:solidFill>
              <a:schemeClr val="tx1"/>
            </a:solidFill>
          </a:endParaRPr>
        </a:p>
      </dgm:t>
    </dgm:pt>
    <dgm:pt modelId="{E5D4E142-238A-4EEB-967B-3235B2133DB0}" type="parTrans" cxnId="{F13FB2D5-8920-4E90-A6B5-8BDD9DC9EF99}">
      <dgm:prSet/>
      <dgm:spPr/>
      <dgm:t>
        <a:bodyPr/>
        <a:lstStyle/>
        <a:p>
          <a:endParaRPr lang="en-GB"/>
        </a:p>
      </dgm:t>
    </dgm:pt>
    <dgm:pt modelId="{E24A4F4B-F4D9-4E9E-90E5-70A7A62D1665}" type="sibTrans" cxnId="{F13FB2D5-8920-4E90-A6B5-8BDD9DC9EF99}">
      <dgm:prSet/>
      <dgm:spPr/>
      <dgm:t>
        <a:bodyPr/>
        <a:lstStyle/>
        <a:p>
          <a:endParaRPr lang="en-GB"/>
        </a:p>
      </dgm:t>
    </dgm:pt>
    <dgm:pt modelId="{34B7B224-631A-4639-AB73-065C9E20F147}">
      <dgm:prSet/>
      <dgm:spPr>
        <a:solidFill>
          <a:schemeClr val="bg1">
            <a:lumMod val="85000"/>
          </a:schemeClr>
        </a:solidFill>
      </dgm:spPr>
      <dgm:t>
        <a:bodyPr/>
        <a:lstStyle/>
        <a:p>
          <a:r>
            <a:rPr lang="nb-NO" dirty="0">
              <a:solidFill>
                <a:schemeClr val="tx1"/>
              </a:solidFill>
            </a:rPr>
            <a:t>WS 5 dato</a:t>
          </a:r>
          <a:endParaRPr lang="en-GB" dirty="0">
            <a:solidFill>
              <a:schemeClr val="tx1"/>
            </a:solidFill>
          </a:endParaRPr>
        </a:p>
      </dgm:t>
    </dgm:pt>
    <dgm:pt modelId="{CE551807-550F-48FB-B951-A7840A9CC796}" type="parTrans" cxnId="{5DDDCD9B-48F2-45BA-A413-147C3D095DED}">
      <dgm:prSet/>
      <dgm:spPr/>
      <dgm:t>
        <a:bodyPr/>
        <a:lstStyle/>
        <a:p>
          <a:endParaRPr lang="en-GB"/>
        </a:p>
      </dgm:t>
    </dgm:pt>
    <dgm:pt modelId="{EBEADBCB-059D-44F5-8118-4B98C389147D}" type="sibTrans" cxnId="{5DDDCD9B-48F2-45BA-A413-147C3D095DED}">
      <dgm:prSet/>
      <dgm:spPr/>
      <dgm:t>
        <a:bodyPr/>
        <a:lstStyle/>
        <a:p>
          <a:endParaRPr lang="en-GB"/>
        </a:p>
      </dgm:t>
    </dgm:pt>
    <dgm:pt modelId="{0B29E9DE-29B5-4B9E-872A-18BB649415C6}" type="pres">
      <dgm:prSet presAssocID="{ED4A2CE0-2BA5-46D8-9D72-809ED47A378F}" presName="Name0" presStyleCnt="0">
        <dgm:presLayoutVars>
          <dgm:dir/>
          <dgm:resizeHandles val="exact"/>
        </dgm:presLayoutVars>
      </dgm:prSet>
      <dgm:spPr/>
      <dgm:t>
        <a:bodyPr/>
        <a:lstStyle/>
        <a:p>
          <a:endParaRPr lang="en-US"/>
        </a:p>
      </dgm:t>
    </dgm:pt>
    <dgm:pt modelId="{B652DEB2-642C-47B9-AE8F-B9FCC2B60C6D}" type="pres">
      <dgm:prSet presAssocID="{9650BB08-BAEB-4584-A180-B7378F3732AB}" presName="parTxOnly" presStyleLbl="node1" presStyleIdx="0" presStyleCnt="5">
        <dgm:presLayoutVars>
          <dgm:bulletEnabled val="1"/>
        </dgm:presLayoutVars>
      </dgm:prSet>
      <dgm:spPr/>
      <dgm:t>
        <a:bodyPr/>
        <a:lstStyle/>
        <a:p>
          <a:endParaRPr lang="en-US"/>
        </a:p>
      </dgm:t>
    </dgm:pt>
    <dgm:pt modelId="{8C80D64E-C622-4A48-88DF-509C64286671}" type="pres">
      <dgm:prSet presAssocID="{E0F16DC7-F4AE-4D4E-ADE1-4A7F516CEDDD}" presName="parSpace" presStyleCnt="0"/>
      <dgm:spPr/>
    </dgm:pt>
    <dgm:pt modelId="{590D0847-8A72-42C9-AB6A-28A65EA05285}" type="pres">
      <dgm:prSet presAssocID="{EE00EAAF-3199-4436-B45B-4E127BCD9AF3}" presName="parTxOnly" presStyleLbl="node1" presStyleIdx="1" presStyleCnt="5">
        <dgm:presLayoutVars>
          <dgm:bulletEnabled val="1"/>
        </dgm:presLayoutVars>
      </dgm:prSet>
      <dgm:spPr/>
      <dgm:t>
        <a:bodyPr/>
        <a:lstStyle/>
        <a:p>
          <a:endParaRPr lang="en-US"/>
        </a:p>
      </dgm:t>
    </dgm:pt>
    <dgm:pt modelId="{E28C510D-E917-463A-886D-BCF6F3D84AA7}" type="pres">
      <dgm:prSet presAssocID="{62FA8E63-A224-480B-AFEE-9FD5E14BEFD0}" presName="parSpace" presStyleCnt="0"/>
      <dgm:spPr/>
    </dgm:pt>
    <dgm:pt modelId="{44587085-A39D-49B7-AFF8-3D754BC1BFCE}" type="pres">
      <dgm:prSet presAssocID="{ABCC4F85-C200-4C8C-8404-58FF1AC564F2}" presName="parTxOnly" presStyleLbl="node1" presStyleIdx="2" presStyleCnt="5">
        <dgm:presLayoutVars>
          <dgm:bulletEnabled val="1"/>
        </dgm:presLayoutVars>
      </dgm:prSet>
      <dgm:spPr/>
      <dgm:t>
        <a:bodyPr/>
        <a:lstStyle/>
        <a:p>
          <a:endParaRPr lang="en-US"/>
        </a:p>
      </dgm:t>
    </dgm:pt>
    <dgm:pt modelId="{49576163-9FE0-4175-B16E-D2676A974DEF}" type="pres">
      <dgm:prSet presAssocID="{53D60DF3-2DE8-4DA6-BD61-4591E21524AE}" presName="parSpace" presStyleCnt="0"/>
      <dgm:spPr/>
    </dgm:pt>
    <dgm:pt modelId="{6602B6DE-F9AE-40C2-BDB7-F11A7DDEC455}" type="pres">
      <dgm:prSet presAssocID="{CBE8A488-0887-4FF6-8A52-38EBE35478F5}" presName="parTxOnly" presStyleLbl="node1" presStyleIdx="3" presStyleCnt="5">
        <dgm:presLayoutVars>
          <dgm:bulletEnabled val="1"/>
        </dgm:presLayoutVars>
      </dgm:prSet>
      <dgm:spPr/>
      <dgm:t>
        <a:bodyPr/>
        <a:lstStyle/>
        <a:p>
          <a:endParaRPr lang="en-US"/>
        </a:p>
      </dgm:t>
    </dgm:pt>
    <dgm:pt modelId="{72AED51A-8C06-4A37-B822-3BBE56CC1950}" type="pres">
      <dgm:prSet presAssocID="{E24A4F4B-F4D9-4E9E-90E5-70A7A62D1665}" presName="parSpace" presStyleCnt="0"/>
      <dgm:spPr/>
    </dgm:pt>
    <dgm:pt modelId="{919AA7B5-1AEA-44F1-991E-2686B2679025}" type="pres">
      <dgm:prSet presAssocID="{34B7B224-631A-4639-AB73-065C9E20F147}" presName="parTxOnly" presStyleLbl="node1" presStyleIdx="4" presStyleCnt="5">
        <dgm:presLayoutVars>
          <dgm:bulletEnabled val="1"/>
        </dgm:presLayoutVars>
      </dgm:prSet>
      <dgm:spPr/>
      <dgm:t>
        <a:bodyPr/>
        <a:lstStyle/>
        <a:p>
          <a:endParaRPr lang="en-US"/>
        </a:p>
      </dgm:t>
    </dgm:pt>
  </dgm:ptLst>
  <dgm:cxnLst>
    <dgm:cxn modelId="{F13FB2D5-8920-4E90-A6B5-8BDD9DC9EF99}" srcId="{ED4A2CE0-2BA5-46D8-9D72-809ED47A378F}" destId="{CBE8A488-0887-4FF6-8A52-38EBE35478F5}" srcOrd="3" destOrd="0" parTransId="{E5D4E142-238A-4EEB-967B-3235B2133DB0}" sibTransId="{E24A4F4B-F4D9-4E9E-90E5-70A7A62D1665}"/>
    <dgm:cxn modelId="{4458F8B0-14FB-44AB-A2B7-66E2268F2CE5}" type="presOf" srcId="{CBE8A488-0887-4FF6-8A52-38EBE35478F5}" destId="{6602B6DE-F9AE-40C2-BDB7-F11A7DDEC455}" srcOrd="0" destOrd="0" presId="urn:microsoft.com/office/officeart/2005/8/layout/hChevron3"/>
    <dgm:cxn modelId="{765FD3A4-A41D-462D-ACDB-9F7BAC49701B}" srcId="{ED4A2CE0-2BA5-46D8-9D72-809ED47A378F}" destId="{EE00EAAF-3199-4436-B45B-4E127BCD9AF3}" srcOrd="1" destOrd="0" parTransId="{232B7058-0171-46F8-9062-DB7840D75977}" sibTransId="{62FA8E63-A224-480B-AFEE-9FD5E14BEFD0}"/>
    <dgm:cxn modelId="{F2A6D58B-02D0-4450-AE39-08CD7D5F2996}" srcId="{ED4A2CE0-2BA5-46D8-9D72-809ED47A378F}" destId="{9650BB08-BAEB-4584-A180-B7378F3732AB}" srcOrd="0" destOrd="0" parTransId="{73D090E3-6196-47DC-852F-FBA7B3B9B361}" sibTransId="{E0F16DC7-F4AE-4D4E-ADE1-4A7F516CEDDD}"/>
    <dgm:cxn modelId="{37E09F24-CBA4-4C25-8702-B74AED6637FA}" type="presOf" srcId="{34B7B224-631A-4639-AB73-065C9E20F147}" destId="{919AA7B5-1AEA-44F1-991E-2686B2679025}" srcOrd="0" destOrd="0" presId="urn:microsoft.com/office/officeart/2005/8/layout/hChevron3"/>
    <dgm:cxn modelId="{A7FEB5A8-510B-4824-8FCB-EB5291A42D31}" type="presOf" srcId="{EE00EAAF-3199-4436-B45B-4E127BCD9AF3}" destId="{590D0847-8A72-42C9-AB6A-28A65EA05285}" srcOrd="0" destOrd="0" presId="urn:microsoft.com/office/officeart/2005/8/layout/hChevron3"/>
    <dgm:cxn modelId="{318F5022-C19E-46FB-BF1A-8F5D5BBD1E19}" type="presOf" srcId="{ED4A2CE0-2BA5-46D8-9D72-809ED47A378F}" destId="{0B29E9DE-29B5-4B9E-872A-18BB649415C6}" srcOrd="0" destOrd="0" presId="urn:microsoft.com/office/officeart/2005/8/layout/hChevron3"/>
    <dgm:cxn modelId="{8A1B95CB-9308-4849-81DB-6099F2623952}" type="presOf" srcId="{9650BB08-BAEB-4584-A180-B7378F3732AB}" destId="{B652DEB2-642C-47B9-AE8F-B9FCC2B60C6D}" srcOrd="0" destOrd="0" presId="urn:microsoft.com/office/officeart/2005/8/layout/hChevron3"/>
    <dgm:cxn modelId="{5DDDCD9B-48F2-45BA-A413-147C3D095DED}" srcId="{ED4A2CE0-2BA5-46D8-9D72-809ED47A378F}" destId="{34B7B224-631A-4639-AB73-065C9E20F147}" srcOrd="4" destOrd="0" parTransId="{CE551807-550F-48FB-B951-A7840A9CC796}" sibTransId="{EBEADBCB-059D-44F5-8118-4B98C389147D}"/>
    <dgm:cxn modelId="{654FCA86-9D1D-4DBB-9FF1-B08B9742968F}" type="presOf" srcId="{ABCC4F85-C200-4C8C-8404-58FF1AC564F2}" destId="{44587085-A39D-49B7-AFF8-3D754BC1BFCE}" srcOrd="0" destOrd="0" presId="urn:microsoft.com/office/officeart/2005/8/layout/hChevron3"/>
    <dgm:cxn modelId="{6521ACD1-5D50-4965-A247-04014D04DB25}" srcId="{ED4A2CE0-2BA5-46D8-9D72-809ED47A378F}" destId="{ABCC4F85-C200-4C8C-8404-58FF1AC564F2}" srcOrd="2" destOrd="0" parTransId="{C5F712D1-CBC7-4C42-8500-3FA91E725A19}" sibTransId="{53D60DF3-2DE8-4DA6-BD61-4591E21524AE}"/>
    <dgm:cxn modelId="{CDD26C3C-B434-4F13-9C27-15B49FD47616}" type="presParOf" srcId="{0B29E9DE-29B5-4B9E-872A-18BB649415C6}" destId="{B652DEB2-642C-47B9-AE8F-B9FCC2B60C6D}" srcOrd="0" destOrd="0" presId="urn:microsoft.com/office/officeart/2005/8/layout/hChevron3"/>
    <dgm:cxn modelId="{9E56771C-D06E-4BA1-8294-D5DA6157FAB4}" type="presParOf" srcId="{0B29E9DE-29B5-4B9E-872A-18BB649415C6}" destId="{8C80D64E-C622-4A48-88DF-509C64286671}" srcOrd="1" destOrd="0" presId="urn:microsoft.com/office/officeart/2005/8/layout/hChevron3"/>
    <dgm:cxn modelId="{AEDDFA01-A4ED-4675-93D6-3A1352899798}" type="presParOf" srcId="{0B29E9DE-29B5-4B9E-872A-18BB649415C6}" destId="{590D0847-8A72-42C9-AB6A-28A65EA05285}" srcOrd="2" destOrd="0" presId="urn:microsoft.com/office/officeart/2005/8/layout/hChevron3"/>
    <dgm:cxn modelId="{1A669AB6-4C3F-4F97-9494-8F58323E8384}" type="presParOf" srcId="{0B29E9DE-29B5-4B9E-872A-18BB649415C6}" destId="{E28C510D-E917-463A-886D-BCF6F3D84AA7}" srcOrd="3" destOrd="0" presId="urn:microsoft.com/office/officeart/2005/8/layout/hChevron3"/>
    <dgm:cxn modelId="{9A98E9F6-B88C-40FA-BA8B-27081A0827F4}" type="presParOf" srcId="{0B29E9DE-29B5-4B9E-872A-18BB649415C6}" destId="{44587085-A39D-49B7-AFF8-3D754BC1BFCE}" srcOrd="4" destOrd="0" presId="urn:microsoft.com/office/officeart/2005/8/layout/hChevron3"/>
    <dgm:cxn modelId="{A8AF9EBA-7CF1-4E40-B2F6-179BBF3F0640}" type="presParOf" srcId="{0B29E9DE-29B5-4B9E-872A-18BB649415C6}" destId="{49576163-9FE0-4175-B16E-D2676A974DEF}" srcOrd="5" destOrd="0" presId="urn:microsoft.com/office/officeart/2005/8/layout/hChevron3"/>
    <dgm:cxn modelId="{8137F9C9-6917-4270-AB90-66C56EB80A43}" type="presParOf" srcId="{0B29E9DE-29B5-4B9E-872A-18BB649415C6}" destId="{6602B6DE-F9AE-40C2-BDB7-F11A7DDEC455}" srcOrd="6" destOrd="0" presId="urn:microsoft.com/office/officeart/2005/8/layout/hChevron3"/>
    <dgm:cxn modelId="{77522E5A-8A5B-4167-B944-872B49C1F5D4}" type="presParOf" srcId="{0B29E9DE-29B5-4B9E-872A-18BB649415C6}" destId="{72AED51A-8C06-4A37-B822-3BBE56CC1950}" srcOrd="7" destOrd="0" presId="urn:microsoft.com/office/officeart/2005/8/layout/hChevron3"/>
    <dgm:cxn modelId="{6632B9D1-2419-4583-A321-F57E9D430B7E}" type="presParOf" srcId="{0B29E9DE-29B5-4B9E-872A-18BB649415C6}" destId="{919AA7B5-1AEA-44F1-991E-2686B2679025}"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D4F6FC-8766-437A-A42D-6D712AF2A0BD}">
      <dsp:nvSpPr>
        <dsp:cNvPr id="0" name=""/>
        <dsp:cNvSpPr/>
      </dsp:nvSpPr>
      <dsp:spPr>
        <a:xfrm>
          <a:off x="-5501719" y="-842354"/>
          <a:ext cx="6550722" cy="6550722"/>
        </a:xfrm>
        <a:prstGeom prst="blockArc">
          <a:avLst>
            <a:gd name="adj1" fmla="val 18900000"/>
            <a:gd name="adj2" fmla="val 2700000"/>
            <a:gd name="adj3" fmla="val 330"/>
          </a:avLst>
        </a:prstGeom>
        <a:solidFill>
          <a:schemeClr val="accent1">
            <a:lumMod val="90000"/>
          </a:schemeClr>
        </a:solid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DB9456C-3EC9-475D-BFDC-AF60BD329949}">
      <dsp:nvSpPr>
        <dsp:cNvPr id="0" name=""/>
        <dsp:cNvSpPr/>
      </dsp:nvSpPr>
      <dsp:spPr>
        <a:xfrm>
          <a:off x="549157" y="374099"/>
          <a:ext cx="6201323" cy="748587"/>
        </a:xfrm>
        <a:prstGeom prst="rect">
          <a:avLst/>
        </a:prstGeom>
        <a:solidFill>
          <a:schemeClr val="bg1"/>
        </a:solidFill>
        <a:ln w="38100" cap="flat" cmpd="sng" algn="ctr">
          <a:solidFill>
            <a:schemeClr val="accent1">
              <a:lumMod val="9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4191" tIns="50800" rIns="50800" bIns="50800" numCol="1" spcCol="1270" anchor="ctr" anchorCtr="0">
          <a:noAutofit/>
        </a:bodyPr>
        <a:lstStyle/>
        <a:p>
          <a:pPr lvl="0" algn="l" defTabSz="889000">
            <a:lnSpc>
              <a:spcPct val="90000"/>
            </a:lnSpc>
            <a:spcBef>
              <a:spcPct val="0"/>
            </a:spcBef>
            <a:spcAft>
              <a:spcPct val="35000"/>
            </a:spcAft>
          </a:pPr>
          <a:r>
            <a:rPr lang="nb-NO" sz="2000" kern="1200">
              <a:solidFill>
                <a:schemeClr val="tx1"/>
              </a:solidFill>
            </a:rPr>
            <a:t>Rammer og formål</a:t>
          </a:r>
        </a:p>
        <a:p>
          <a:pPr lvl="0" algn="l" defTabSz="889000">
            <a:lnSpc>
              <a:spcPct val="90000"/>
            </a:lnSpc>
            <a:spcBef>
              <a:spcPct val="0"/>
            </a:spcBef>
            <a:spcAft>
              <a:spcPct val="35000"/>
            </a:spcAft>
          </a:pPr>
          <a:r>
            <a:rPr lang="nb-NO" sz="2000" kern="1200">
              <a:solidFill>
                <a:schemeClr val="tx1"/>
              </a:solidFill>
            </a:rPr>
            <a:t>Presentasjonsrunde og forventninger</a:t>
          </a:r>
          <a:endParaRPr lang="en-GB" sz="2000" kern="1200">
            <a:solidFill>
              <a:schemeClr val="tx1"/>
            </a:solidFill>
          </a:endParaRPr>
        </a:p>
      </dsp:txBody>
      <dsp:txXfrm>
        <a:off x="549157" y="374099"/>
        <a:ext cx="6201323" cy="748587"/>
      </dsp:txXfrm>
    </dsp:sp>
    <dsp:sp modelId="{C0C21EBF-9AAD-45F8-8DDD-CF5B3E5149D4}">
      <dsp:nvSpPr>
        <dsp:cNvPr id="0" name=""/>
        <dsp:cNvSpPr/>
      </dsp:nvSpPr>
      <dsp:spPr>
        <a:xfrm>
          <a:off x="81289" y="280525"/>
          <a:ext cx="935734" cy="93573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0D0B394-F4C0-4867-BA50-92B93571DD68}">
      <dsp:nvSpPr>
        <dsp:cNvPr id="0" name=""/>
        <dsp:cNvSpPr/>
      </dsp:nvSpPr>
      <dsp:spPr>
        <a:xfrm>
          <a:off x="978339" y="1497175"/>
          <a:ext cx="5772140" cy="748587"/>
        </a:xfrm>
        <a:prstGeom prst="rect">
          <a:avLst/>
        </a:prstGeom>
        <a:solidFill>
          <a:schemeClr val="bg1"/>
        </a:solidFill>
        <a:ln w="38100" cap="flat" cmpd="sng" algn="ctr">
          <a:solidFill>
            <a:schemeClr val="accent1">
              <a:lumMod val="9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4191" tIns="50800" rIns="50800" bIns="50800" numCol="1" spcCol="1270" anchor="ctr" anchorCtr="0">
          <a:noAutofit/>
        </a:bodyPr>
        <a:lstStyle/>
        <a:p>
          <a:pPr lvl="0" algn="l" defTabSz="889000">
            <a:lnSpc>
              <a:spcPct val="90000"/>
            </a:lnSpc>
            <a:spcBef>
              <a:spcPct val="0"/>
            </a:spcBef>
            <a:spcAft>
              <a:spcPct val="35000"/>
            </a:spcAft>
          </a:pPr>
          <a:r>
            <a:rPr lang="nb-NO" sz="2000" kern="1200">
              <a:solidFill>
                <a:schemeClr val="tx1"/>
              </a:solidFill>
            </a:rPr>
            <a:t>Om prosessforbedring og UiOs prosessrammeverk</a:t>
          </a:r>
        </a:p>
      </dsp:txBody>
      <dsp:txXfrm>
        <a:off x="978339" y="1497175"/>
        <a:ext cx="5772140" cy="748587"/>
      </dsp:txXfrm>
    </dsp:sp>
    <dsp:sp modelId="{13527A81-4AD9-4988-AB08-017C8A033FC4}">
      <dsp:nvSpPr>
        <dsp:cNvPr id="0" name=""/>
        <dsp:cNvSpPr/>
      </dsp:nvSpPr>
      <dsp:spPr>
        <a:xfrm>
          <a:off x="510472" y="1403601"/>
          <a:ext cx="935734" cy="93573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5CE695-27EF-49F2-92DC-705060781218}">
      <dsp:nvSpPr>
        <dsp:cNvPr id="0" name=""/>
        <dsp:cNvSpPr/>
      </dsp:nvSpPr>
      <dsp:spPr>
        <a:xfrm>
          <a:off x="978339" y="2620251"/>
          <a:ext cx="5772140" cy="748587"/>
        </a:xfrm>
        <a:prstGeom prst="rect">
          <a:avLst/>
        </a:prstGeom>
        <a:solidFill>
          <a:schemeClr val="bg1"/>
        </a:solidFill>
        <a:ln w="38100" cap="flat" cmpd="sng" algn="ctr">
          <a:solidFill>
            <a:schemeClr val="accent1">
              <a:lumMod val="9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4191" tIns="50800" rIns="50800" bIns="50800" numCol="1" spcCol="1270" anchor="ctr" anchorCtr="0">
          <a:noAutofit/>
        </a:bodyPr>
        <a:lstStyle/>
        <a:p>
          <a:pPr lvl="0" algn="l" defTabSz="889000">
            <a:lnSpc>
              <a:spcPct val="90000"/>
            </a:lnSpc>
            <a:spcBef>
              <a:spcPct val="0"/>
            </a:spcBef>
            <a:spcAft>
              <a:spcPct val="35000"/>
            </a:spcAft>
          </a:pPr>
          <a:r>
            <a:rPr lang="nb-NO" sz="2000" kern="1200">
              <a:solidFill>
                <a:schemeClr val="tx1"/>
              </a:solidFill>
            </a:rPr>
            <a:t>Om vår prosess</a:t>
          </a:r>
          <a:endParaRPr lang="en-GB" sz="2000" kern="1200">
            <a:solidFill>
              <a:schemeClr val="tx1"/>
            </a:solidFill>
          </a:endParaRPr>
        </a:p>
      </dsp:txBody>
      <dsp:txXfrm>
        <a:off x="978339" y="2620251"/>
        <a:ext cx="5772140" cy="748587"/>
      </dsp:txXfrm>
    </dsp:sp>
    <dsp:sp modelId="{B7157A48-DADC-4C07-93FB-D2BF6B499A2F}">
      <dsp:nvSpPr>
        <dsp:cNvPr id="0" name=""/>
        <dsp:cNvSpPr/>
      </dsp:nvSpPr>
      <dsp:spPr>
        <a:xfrm>
          <a:off x="510472" y="2526677"/>
          <a:ext cx="935734" cy="93573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ACA6833-EDB9-499A-BD13-316FE33C6A94}">
      <dsp:nvSpPr>
        <dsp:cNvPr id="0" name=""/>
        <dsp:cNvSpPr/>
      </dsp:nvSpPr>
      <dsp:spPr>
        <a:xfrm>
          <a:off x="549157" y="3743327"/>
          <a:ext cx="6201323" cy="748587"/>
        </a:xfrm>
        <a:prstGeom prst="rect">
          <a:avLst/>
        </a:prstGeom>
        <a:solidFill>
          <a:schemeClr val="bg1"/>
        </a:solidFill>
        <a:ln w="38100" cap="flat" cmpd="sng" algn="ctr">
          <a:solidFill>
            <a:schemeClr val="accent1">
              <a:lumMod val="9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4191" tIns="50800" rIns="50800" bIns="50800" numCol="1" spcCol="1270" anchor="ctr" anchorCtr="0">
          <a:noAutofit/>
        </a:bodyPr>
        <a:lstStyle/>
        <a:p>
          <a:pPr lvl="0" algn="l" defTabSz="889000">
            <a:lnSpc>
              <a:spcPct val="90000"/>
            </a:lnSpc>
            <a:spcBef>
              <a:spcPct val="0"/>
            </a:spcBef>
            <a:spcAft>
              <a:spcPct val="35000"/>
            </a:spcAft>
          </a:pPr>
          <a:r>
            <a:rPr lang="nb-NO" sz="2000" kern="1200" dirty="0">
              <a:solidFill>
                <a:schemeClr val="tx1"/>
              </a:solidFill>
            </a:rPr>
            <a:t>Kartlegging av nåsituasjon</a:t>
          </a:r>
          <a:endParaRPr lang="en-GB" sz="2000" kern="1200" dirty="0">
            <a:solidFill>
              <a:schemeClr val="tx1"/>
            </a:solidFill>
          </a:endParaRPr>
        </a:p>
      </dsp:txBody>
      <dsp:txXfrm>
        <a:off x="549157" y="3743327"/>
        <a:ext cx="6201323" cy="748587"/>
      </dsp:txXfrm>
    </dsp:sp>
    <dsp:sp modelId="{7D59984E-B51F-4E6C-ABE2-019B4A4195DB}">
      <dsp:nvSpPr>
        <dsp:cNvPr id="0" name=""/>
        <dsp:cNvSpPr/>
      </dsp:nvSpPr>
      <dsp:spPr>
        <a:xfrm>
          <a:off x="81289" y="3649753"/>
          <a:ext cx="935734" cy="93573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52DEB2-642C-47B9-AE8F-B9FCC2B60C6D}">
      <dsp:nvSpPr>
        <dsp:cNvPr id="0" name=""/>
        <dsp:cNvSpPr/>
      </dsp:nvSpPr>
      <dsp:spPr>
        <a:xfrm>
          <a:off x="1017" y="190856"/>
          <a:ext cx="1984862" cy="793944"/>
        </a:xfrm>
        <a:prstGeom prst="homePlate">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56007" rIns="28004" bIns="56007" numCol="1" spcCol="1270" anchor="ctr" anchorCtr="0">
          <a:noAutofit/>
        </a:bodyPr>
        <a:lstStyle/>
        <a:p>
          <a:pPr lvl="0" algn="ctr" defTabSz="933450">
            <a:lnSpc>
              <a:spcPct val="90000"/>
            </a:lnSpc>
            <a:spcBef>
              <a:spcPct val="0"/>
            </a:spcBef>
            <a:spcAft>
              <a:spcPct val="35000"/>
            </a:spcAft>
          </a:pPr>
          <a:r>
            <a:rPr lang="nb-NO" sz="2100" kern="1200" dirty="0">
              <a:solidFill>
                <a:schemeClr val="tx1"/>
              </a:solidFill>
            </a:rPr>
            <a:t>WS 1 </a:t>
          </a:r>
        </a:p>
        <a:p>
          <a:pPr lvl="0" algn="ctr" defTabSz="933450">
            <a:lnSpc>
              <a:spcPct val="90000"/>
            </a:lnSpc>
            <a:spcBef>
              <a:spcPct val="0"/>
            </a:spcBef>
            <a:spcAft>
              <a:spcPct val="35000"/>
            </a:spcAft>
          </a:pPr>
          <a:r>
            <a:rPr lang="nb-NO" sz="2100" kern="1200" dirty="0">
              <a:solidFill>
                <a:schemeClr val="tx1"/>
              </a:solidFill>
            </a:rPr>
            <a:t>dato</a:t>
          </a:r>
          <a:endParaRPr lang="en-GB" sz="2100" kern="1200" dirty="0">
            <a:solidFill>
              <a:schemeClr val="tx1"/>
            </a:solidFill>
          </a:endParaRPr>
        </a:p>
      </dsp:txBody>
      <dsp:txXfrm>
        <a:off x="1017" y="190856"/>
        <a:ext cx="1786376" cy="793944"/>
      </dsp:txXfrm>
    </dsp:sp>
    <dsp:sp modelId="{590D0847-8A72-42C9-AB6A-28A65EA05285}">
      <dsp:nvSpPr>
        <dsp:cNvPr id="0" name=""/>
        <dsp:cNvSpPr/>
      </dsp:nvSpPr>
      <dsp:spPr>
        <a:xfrm>
          <a:off x="1588907" y="190856"/>
          <a:ext cx="1984862" cy="793944"/>
        </a:xfrm>
        <a:prstGeom prst="chevron">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56007" rIns="28004" bIns="56007" numCol="1" spcCol="1270" anchor="ctr" anchorCtr="0">
          <a:noAutofit/>
        </a:bodyPr>
        <a:lstStyle/>
        <a:p>
          <a:pPr lvl="0" algn="ctr" defTabSz="933450">
            <a:lnSpc>
              <a:spcPct val="90000"/>
            </a:lnSpc>
            <a:spcBef>
              <a:spcPct val="0"/>
            </a:spcBef>
            <a:spcAft>
              <a:spcPct val="35000"/>
            </a:spcAft>
          </a:pPr>
          <a:r>
            <a:rPr lang="nb-NO" sz="2100" kern="1200" dirty="0">
              <a:solidFill>
                <a:schemeClr val="tx1"/>
              </a:solidFill>
            </a:rPr>
            <a:t>WS 2 dato</a:t>
          </a:r>
          <a:endParaRPr lang="en-GB" sz="2100" kern="1200" dirty="0">
            <a:solidFill>
              <a:schemeClr val="tx1"/>
            </a:solidFill>
          </a:endParaRPr>
        </a:p>
      </dsp:txBody>
      <dsp:txXfrm>
        <a:off x="1985879" y="190856"/>
        <a:ext cx="1190918" cy="793944"/>
      </dsp:txXfrm>
    </dsp:sp>
    <dsp:sp modelId="{44587085-A39D-49B7-AFF8-3D754BC1BFCE}">
      <dsp:nvSpPr>
        <dsp:cNvPr id="0" name=""/>
        <dsp:cNvSpPr/>
      </dsp:nvSpPr>
      <dsp:spPr>
        <a:xfrm>
          <a:off x="3176797" y="190856"/>
          <a:ext cx="1984862" cy="793944"/>
        </a:xfrm>
        <a:prstGeom prst="chevron">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56007" rIns="28004" bIns="56007" numCol="1" spcCol="1270" anchor="ctr" anchorCtr="0">
          <a:noAutofit/>
        </a:bodyPr>
        <a:lstStyle/>
        <a:p>
          <a:pPr lvl="0" algn="ctr" defTabSz="933450">
            <a:lnSpc>
              <a:spcPct val="90000"/>
            </a:lnSpc>
            <a:spcBef>
              <a:spcPct val="0"/>
            </a:spcBef>
            <a:spcAft>
              <a:spcPct val="35000"/>
            </a:spcAft>
          </a:pPr>
          <a:r>
            <a:rPr lang="nb-NO" sz="2100" kern="1200" dirty="0">
              <a:solidFill>
                <a:schemeClr val="tx1"/>
              </a:solidFill>
            </a:rPr>
            <a:t>WS 3 dato</a:t>
          </a:r>
          <a:endParaRPr lang="en-GB" sz="2100" kern="1200" dirty="0">
            <a:solidFill>
              <a:schemeClr val="tx1"/>
            </a:solidFill>
          </a:endParaRPr>
        </a:p>
      </dsp:txBody>
      <dsp:txXfrm>
        <a:off x="3573769" y="190856"/>
        <a:ext cx="1190918" cy="793944"/>
      </dsp:txXfrm>
    </dsp:sp>
    <dsp:sp modelId="{6602B6DE-F9AE-40C2-BDB7-F11A7DDEC455}">
      <dsp:nvSpPr>
        <dsp:cNvPr id="0" name=""/>
        <dsp:cNvSpPr/>
      </dsp:nvSpPr>
      <dsp:spPr>
        <a:xfrm>
          <a:off x="4764687" y="190856"/>
          <a:ext cx="1984862" cy="793944"/>
        </a:xfrm>
        <a:prstGeom prst="chevron">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56007" rIns="28004" bIns="56007" numCol="1" spcCol="1270" anchor="ctr" anchorCtr="0">
          <a:noAutofit/>
        </a:bodyPr>
        <a:lstStyle/>
        <a:p>
          <a:pPr lvl="0" algn="ctr" defTabSz="933450">
            <a:lnSpc>
              <a:spcPct val="90000"/>
            </a:lnSpc>
            <a:spcBef>
              <a:spcPct val="0"/>
            </a:spcBef>
            <a:spcAft>
              <a:spcPct val="35000"/>
            </a:spcAft>
          </a:pPr>
          <a:r>
            <a:rPr lang="nb-NO" sz="2100" kern="1200" dirty="0">
              <a:solidFill>
                <a:schemeClr val="tx1"/>
              </a:solidFill>
            </a:rPr>
            <a:t>WS 4 dato</a:t>
          </a:r>
          <a:endParaRPr lang="en-GB" sz="2100" kern="1200" dirty="0">
            <a:solidFill>
              <a:schemeClr val="tx1"/>
            </a:solidFill>
          </a:endParaRPr>
        </a:p>
      </dsp:txBody>
      <dsp:txXfrm>
        <a:off x="5161659" y="190856"/>
        <a:ext cx="1190918" cy="793944"/>
      </dsp:txXfrm>
    </dsp:sp>
    <dsp:sp modelId="{919AA7B5-1AEA-44F1-991E-2686B2679025}">
      <dsp:nvSpPr>
        <dsp:cNvPr id="0" name=""/>
        <dsp:cNvSpPr/>
      </dsp:nvSpPr>
      <dsp:spPr>
        <a:xfrm>
          <a:off x="6352576" y="190856"/>
          <a:ext cx="1984862" cy="793944"/>
        </a:xfrm>
        <a:prstGeom prst="chevron">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56007" rIns="28004" bIns="56007" numCol="1" spcCol="1270" anchor="ctr" anchorCtr="0">
          <a:noAutofit/>
        </a:bodyPr>
        <a:lstStyle/>
        <a:p>
          <a:pPr lvl="0" algn="ctr" defTabSz="933450">
            <a:lnSpc>
              <a:spcPct val="90000"/>
            </a:lnSpc>
            <a:spcBef>
              <a:spcPct val="0"/>
            </a:spcBef>
            <a:spcAft>
              <a:spcPct val="35000"/>
            </a:spcAft>
          </a:pPr>
          <a:r>
            <a:rPr lang="nb-NO" sz="2100" kern="1200" dirty="0">
              <a:solidFill>
                <a:schemeClr val="tx1"/>
              </a:solidFill>
            </a:rPr>
            <a:t>WS 5 dato</a:t>
          </a:r>
          <a:endParaRPr lang="en-GB" sz="2100" kern="1200" dirty="0">
            <a:solidFill>
              <a:schemeClr val="tx1"/>
            </a:solidFill>
          </a:endParaRPr>
        </a:p>
      </dsp:txBody>
      <dsp:txXfrm>
        <a:off x="6749548" y="190856"/>
        <a:ext cx="1190918" cy="793944"/>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3607" cy="3106057"/>
          </a:xfrm>
          <a:prstGeom prst="rect">
            <a:avLst/>
          </a:prstGeom>
        </p:spPr>
        <p:txBody>
          <a:bodyPr vert="horz" lIns="194621" tIns="97310" rIns="194621" bIns="97310" rtlCol="0"/>
          <a:lstStyle>
            <a:lvl1pPr algn="l">
              <a:defRPr sz="2600"/>
            </a:lvl1pPr>
          </a:lstStyle>
          <a:p>
            <a:endParaRPr lang="en-GB"/>
          </a:p>
        </p:txBody>
      </p:sp>
      <p:sp>
        <p:nvSpPr>
          <p:cNvPr id="3" name="Date Placeholder 2"/>
          <p:cNvSpPr>
            <a:spLocks noGrp="1"/>
          </p:cNvSpPr>
          <p:nvPr>
            <p:ph type="dt" idx="1"/>
          </p:nvPr>
        </p:nvSpPr>
        <p:spPr>
          <a:xfrm>
            <a:off x="5625495" y="0"/>
            <a:ext cx="4303607" cy="3106057"/>
          </a:xfrm>
          <a:prstGeom prst="rect">
            <a:avLst/>
          </a:prstGeom>
        </p:spPr>
        <p:txBody>
          <a:bodyPr vert="horz" lIns="194621" tIns="97310" rIns="194621" bIns="97310" rtlCol="0"/>
          <a:lstStyle>
            <a:lvl1pPr algn="r">
              <a:defRPr sz="2600"/>
            </a:lvl1pPr>
          </a:lstStyle>
          <a:p>
            <a:fld id="{FAE11118-485E-4BF6-8873-9E51580C18FD}" type="datetimeFigureOut">
              <a:rPr lang="en-GB" smtClean="0"/>
              <a:t>13/12/2018</a:t>
            </a:fld>
            <a:endParaRPr lang="en-GB"/>
          </a:p>
        </p:txBody>
      </p:sp>
      <p:sp>
        <p:nvSpPr>
          <p:cNvPr id="4" name="Slide Image Placeholder 3"/>
          <p:cNvSpPr>
            <a:spLocks noGrp="1" noRot="1" noChangeAspect="1"/>
          </p:cNvSpPr>
          <p:nvPr>
            <p:ph type="sldImg" idx="2"/>
          </p:nvPr>
        </p:nvSpPr>
        <p:spPr>
          <a:xfrm>
            <a:off x="-15740063" y="4659313"/>
            <a:ext cx="41411526" cy="23294975"/>
          </a:xfrm>
          <a:prstGeom prst="rect">
            <a:avLst/>
          </a:prstGeom>
          <a:noFill/>
          <a:ln w="12700">
            <a:solidFill>
              <a:prstClr val="black"/>
            </a:solidFill>
          </a:ln>
        </p:spPr>
        <p:txBody>
          <a:bodyPr vert="horz" lIns="194621" tIns="97310" rIns="194621" bIns="97310" rtlCol="0" anchor="ctr"/>
          <a:lstStyle/>
          <a:p>
            <a:endParaRPr lang="en-GB"/>
          </a:p>
        </p:txBody>
      </p:sp>
      <p:sp>
        <p:nvSpPr>
          <p:cNvPr id="5" name="Notes Placeholder 4"/>
          <p:cNvSpPr>
            <a:spLocks noGrp="1"/>
          </p:cNvSpPr>
          <p:nvPr>
            <p:ph type="body" sz="quarter" idx="3"/>
          </p:nvPr>
        </p:nvSpPr>
        <p:spPr>
          <a:xfrm>
            <a:off x="993140" y="29507543"/>
            <a:ext cx="7945120" cy="27954514"/>
          </a:xfrm>
          <a:prstGeom prst="rect">
            <a:avLst/>
          </a:prstGeom>
        </p:spPr>
        <p:txBody>
          <a:bodyPr vert="horz" lIns="194621" tIns="97310" rIns="194621" bIns="9731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59004304"/>
            <a:ext cx="4303607" cy="3106057"/>
          </a:xfrm>
          <a:prstGeom prst="rect">
            <a:avLst/>
          </a:prstGeom>
        </p:spPr>
        <p:txBody>
          <a:bodyPr vert="horz" lIns="194621" tIns="97310" rIns="194621" bIns="97310" rtlCol="0" anchor="b"/>
          <a:lstStyle>
            <a:lvl1pPr algn="l">
              <a:defRPr sz="2600"/>
            </a:lvl1pPr>
          </a:lstStyle>
          <a:p>
            <a:endParaRPr lang="en-GB"/>
          </a:p>
        </p:txBody>
      </p:sp>
      <p:sp>
        <p:nvSpPr>
          <p:cNvPr id="7" name="Slide Number Placeholder 6"/>
          <p:cNvSpPr>
            <a:spLocks noGrp="1"/>
          </p:cNvSpPr>
          <p:nvPr>
            <p:ph type="sldNum" sz="quarter" idx="5"/>
          </p:nvPr>
        </p:nvSpPr>
        <p:spPr>
          <a:xfrm>
            <a:off x="5625495" y="59004304"/>
            <a:ext cx="4303607" cy="3106057"/>
          </a:xfrm>
          <a:prstGeom prst="rect">
            <a:avLst/>
          </a:prstGeom>
        </p:spPr>
        <p:txBody>
          <a:bodyPr vert="horz" lIns="194621" tIns="97310" rIns="194621" bIns="97310" rtlCol="0" anchor="b"/>
          <a:lstStyle>
            <a:lvl1pPr algn="r">
              <a:defRPr sz="2600"/>
            </a:lvl1pPr>
          </a:lstStyle>
          <a:p>
            <a:fld id="{88FA8183-C6B3-4DE4-B51C-45EC073A885A}" type="slidenum">
              <a:rPr lang="en-GB" smtClean="0"/>
              <a:t>‹#›</a:t>
            </a:fld>
            <a:endParaRPr lang="en-GB"/>
          </a:p>
        </p:txBody>
      </p:sp>
    </p:spTree>
    <p:extLst>
      <p:ext uri="{BB962C8B-B14F-4D97-AF65-F5344CB8AC3E}">
        <p14:creationId xmlns:p14="http://schemas.microsoft.com/office/powerpoint/2010/main" val="21297781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40063" y="4659313"/>
            <a:ext cx="41411526" cy="23294975"/>
          </a:xfrm>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88FA8183-C6B3-4DE4-B51C-45EC073A885A}" type="slidenum">
              <a:rPr lang="en-GB" smtClean="0"/>
              <a:t>2</a:t>
            </a:fld>
            <a:endParaRPr lang="en-GB"/>
          </a:p>
        </p:txBody>
      </p:sp>
    </p:spTree>
    <p:extLst>
      <p:ext uri="{BB962C8B-B14F-4D97-AF65-F5344CB8AC3E}">
        <p14:creationId xmlns:p14="http://schemas.microsoft.com/office/powerpoint/2010/main" val="9756431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40063" y="4659313"/>
            <a:ext cx="41411526" cy="232949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altLang="nb-NO" dirty="0">
                <a:solidFill>
                  <a:schemeClr val="tx1"/>
                </a:solidFill>
              </a:rPr>
              <a:t>Få inn hjelpespørsmål</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altLang="nb-NO"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ltLang="nb-NO" dirty="0">
                <a:solidFill>
                  <a:schemeClr val="tx1"/>
                </a:solidFill>
              </a:rPr>
              <a:t>Overproduksjon: Vi produserer/leverer mer enn det mottakeren umiddelbart har behov for. Gjelder også arbeid som kunne vært unngått i utgangspunktet, eller hører hjemme hos andre funksjoner/enheter</a:t>
            </a:r>
          </a:p>
          <a:p>
            <a:pPr marL="171450" indent="-171450">
              <a:buFont typeface="Arial" panose="020B0604020202020204" pitchFamily="34" charset="0"/>
              <a:buChar char="•"/>
            </a:pPr>
            <a:endParaRPr lang="nb-NO"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obbeltarbeid: </a:t>
            </a:r>
            <a:r>
              <a:rPr lang="nb-NO" sz="1200" kern="0" dirty="0"/>
              <a:t>Samme aktivitet utføres flere ganger, innad i samme enhet, og/eller på tvers av organisasjonen</a:t>
            </a:r>
          </a:p>
          <a:p>
            <a:pPr marL="171450" indent="-171450">
              <a:buFont typeface="Arial" panose="020B0604020202020204" pitchFamily="34" charset="0"/>
              <a:buChar char="•"/>
            </a:pPr>
            <a:endParaRPr lang="nb-NO" dirty="0"/>
          </a:p>
          <a:p>
            <a:pPr marL="171450" indent="-171450" defTabSz="1045117" fontAlgn="auto">
              <a:spcBef>
                <a:spcPct val="50000"/>
              </a:spcBef>
              <a:spcAft>
                <a:spcPts val="0"/>
              </a:spcAft>
              <a:buFont typeface="Arial" panose="020B0604020202020204" pitchFamily="34" charset="0"/>
              <a:buChar char="•"/>
              <a:defRPr/>
            </a:pPr>
            <a:r>
              <a:rPr lang="nb-NO" sz="1200" kern="0" dirty="0"/>
              <a:t>Unødvendige og/eller mange overleveringer av oppgaver. Unødig transport av dokumenter, informasjon, gjenstander, mennesker, </a:t>
            </a:r>
            <a:r>
              <a:rPr lang="nb-NO" sz="1200" kern="0" dirty="0" err="1"/>
              <a:t>osv</a:t>
            </a:r>
            <a:endParaRPr lang="nb-NO" dirty="0"/>
          </a:p>
          <a:p>
            <a:pPr marL="171450" indent="-171450">
              <a:buFont typeface="Arial" panose="020B0604020202020204" pitchFamily="34" charset="0"/>
              <a:buChar char="•"/>
            </a:pPr>
            <a:endParaRPr lang="nb-NO"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kern="0" dirty="0"/>
              <a:t>Stadige avbrytelser, skifte mellom oppgaver og sette seg inn i en sak flere gang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kern="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kern="0" dirty="0"/>
              <a:t>Vente på dokumenter, informasjon, gjenstander, avklaringer, godkjenning, tilganger, systemer, etc. Oppgaver / saker venter på å bli behandl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kern="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kern="0" dirty="0"/>
              <a:t>Unødvendige køer av oppgaver. Skaper ekstra henvendelser, kompleksitet, arbeid med prioriteringer, sortere og holde orden på køene, rapportering, etc. Unødig lager mht. fysiske varer [synes flaskehals</a:t>
            </a:r>
            <a:r>
              <a:rPr lang="nb-NO" sz="1200" kern="0" baseline="0" dirty="0"/>
              <a:t> skal inn under køer også med tanke på enheter og individer som monopoliserer oppgaver/roller og dermed skaper køer hos dem når arbeid kunne vært distribuert for raskere behandling</a:t>
            </a:r>
            <a:r>
              <a:rPr lang="nb-NO" sz="1200" kern="0" dirty="0"/>
              <a:t>]</a:t>
            </a:r>
          </a:p>
          <a:p>
            <a:pPr marL="171450" indent="-171450">
              <a:buFont typeface="Arial" panose="020B0604020202020204" pitchFamily="34" charset="0"/>
              <a:buChar char="•"/>
            </a:pPr>
            <a:endParaRPr lang="nb-NO"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kern="0" dirty="0"/>
              <a:t>Unødig arbeid og omarbeid som skapes som følge av feil i det vi mottar, i egen prosess eller i etterfølgende steg i prosess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kern="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kern="0" dirty="0"/>
              <a:t>Erfaring, kunnskap og kompetanse som ikke blir fanget, delt og utnyttet innad i enheten og/eller på tvers av organisasjonen og prosessene. Ikke «rett person på rett plass», eller manglende opplæring mht. rolle </a:t>
            </a:r>
          </a:p>
          <a:p>
            <a:endParaRPr lang="en-GB" dirty="0"/>
          </a:p>
        </p:txBody>
      </p:sp>
      <p:sp>
        <p:nvSpPr>
          <p:cNvPr id="4" name="Slide Number Placeholder 3"/>
          <p:cNvSpPr>
            <a:spLocks noGrp="1"/>
          </p:cNvSpPr>
          <p:nvPr>
            <p:ph type="sldNum" sz="quarter" idx="10"/>
          </p:nvPr>
        </p:nvSpPr>
        <p:spPr/>
        <p:txBody>
          <a:bodyPr/>
          <a:lstStyle/>
          <a:p>
            <a:fld id="{88FA8183-C6B3-4DE4-B51C-45EC073A885A}" type="slidenum">
              <a:rPr lang="en-GB" smtClean="0"/>
              <a:t>11</a:t>
            </a:fld>
            <a:endParaRPr lang="en-GB"/>
          </a:p>
        </p:txBody>
      </p:sp>
    </p:spTree>
    <p:extLst>
      <p:ext uri="{BB962C8B-B14F-4D97-AF65-F5344CB8AC3E}">
        <p14:creationId xmlns:p14="http://schemas.microsoft.com/office/powerpoint/2010/main" val="25497727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40063" y="4659313"/>
            <a:ext cx="41411526" cy="232949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8FA8183-C6B3-4DE4-B51C-45EC073A885A}" type="slidenum">
              <a:rPr lang="en-GB" smtClean="0"/>
              <a:t>12</a:t>
            </a:fld>
            <a:endParaRPr lang="en-GB"/>
          </a:p>
        </p:txBody>
      </p:sp>
    </p:spTree>
    <p:extLst>
      <p:ext uri="{BB962C8B-B14F-4D97-AF65-F5344CB8AC3E}">
        <p14:creationId xmlns:p14="http://schemas.microsoft.com/office/powerpoint/2010/main" val="14703664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40063" y="4659313"/>
            <a:ext cx="41411526" cy="23294975"/>
          </a:xfrm>
        </p:spPr>
      </p:sp>
      <p:sp>
        <p:nvSpPr>
          <p:cNvPr id="3" name="Notes Placeholder 2"/>
          <p:cNvSpPr>
            <a:spLocks noGrp="1"/>
          </p:cNvSpPr>
          <p:nvPr>
            <p:ph type="body" idx="1"/>
          </p:nvPr>
        </p:nvSpPr>
        <p:spPr/>
        <p:txBody>
          <a:bodyPr/>
          <a:lstStyle/>
          <a:p>
            <a:pPr marL="577105" indent="-577105"/>
            <a:r>
              <a:rPr lang="nb-NO" dirty="0"/>
              <a:t>Idémyldring med lapper</a:t>
            </a:r>
            <a:r>
              <a:rPr lang="nb-NO" dirty="0">
                <a:cs typeface="Arial"/>
              </a:rPr>
              <a:t> (vurder om det gjøres i plenum eller om du må dele inn i mindre grupper)</a:t>
            </a:r>
            <a:endParaRPr lang="nb-NO" dirty="0"/>
          </a:p>
          <a:p>
            <a:pPr marL="577105" indent="-577105"/>
            <a:r>
              <a:rPr lang="nb-NO" dirty="0"/>
              <a:t>Kort pause</a:t>
            </a:r>
            <a:endParaRPr lang="nb-NO" dirty="0">
              <a:cs typeface="Arial"/>
            </a:endParaRPr>
          </a:p>
          <a:p>
            <a:pPr marL="577105" indent="-577105"/>
            <a:r>
              <a:rPr lang="nb-NO" dirty="0"/>
              <a:t>Arbeid i plenum: Henge opp, sortere, detaljere</a:t>
            </a:r>
            <a:endParaRPr lang="nb-NO" dirty="0">
              <a:cs typeface="Arial"/>
            </a:endParaRPr>
          </a:p>
          <a:p>
            <a:pPr marL="577105" indent="-577105"/>
            <a:r>
              <a:rPr lang="nb-NO" dirty="0"/>
              <a:t>Oppsummering av felles bilde nå og ev. Uklarheter?</a:t>
            </a:r>
            <a:endParaRPr lang="en-GB" dirty="0">
              <a:cs typeface="Arial"/>
            </a:endParaRPr>
          </a:p>
          <a:p>
            <a:endParaRPr lang="nb-NO" dirty="0"/>
          </a:p>
          <a:p>
            <a:pPr marL="577105" indent="-577105"/>
            <a:r>
              <a:rPr lang="nb-NO" dirty="0">
                <a:cs typeface="Arial"/>
              </a:rPr>
              <a:t>Oppgavene skrives av kjernegruppemedlemmene på gule </a:t>
            </a:r>
            <a:r>
              <a:rPr lang="nb-NO" dirty="0" err="1">
                <a:cs typeface="Arial"/>
              </a:rPr>
              <a:t>postIT</a:t>
            </a:r>
            <a:r>
              <a:rPr lang="nb-NO" dirty="0">
                <a:cs typeface="Arial"/>
              </a:rPr>
              <a:t>-lapper og plasseres på rollelinjene de tilhører, gjerne i en tenkt tidslinje (hvis mulig).</a:t>
            </a:r>
          </a:p>
          <a:p>
            <a:pPr marL="577105" indent="-577105"/>
            <a:r>
              <a:rPr lang="nb-NO" dirty="0">
                <a:cs typeface="Arial"/>
              </a:rPr>
              <a:t>Utfordringer / flaskehalser som dukker opp underveis skrives inn på rosa lapper.</a:t>
            </a:r>
          </a:p>
          <a:p>
            <a:pPr marL="577105" indent="-577105"/>
            <a:endParaRPr lang="nb-NO" dirty="0">
              <a:cs typeface="Arial"/>
            </a:endParaRPr>
          </a:p>
          <a:p>
            <a:pPr marL="577105" indent="-577105"/>
            <a:r>
              <a:rPr lang="nb-NO" dirty="0">
                <a:cs typeface="Arial"/>
              </a:rPr>
              <a:t>Hvilke roller? Skrives på blå </a:t>
            </a:r>
            <a:r>
              <a:rPr lang="nb-NO" dirty="0" err="1">
                <a:cs typeface="Arial"/>
              </a:rPr>
              <a:t>post-it</a:t>
            </a:r>
            <a:endParaRPr lang="nb-NO" dirty="0">
              <a:cs typeface="Arial"/>
            </a:endParaRPr>
          </a:p>
          <a:p>
            <a:endParaRPr lang="nb-NO" dirty="0"/>
          </a:p>
        </p:txBody>
      </p:sp>
      <p:sp>
        <p:nvSpPr>
          <p:cNvPr id="4" name="Slide Number Placeholder 3"/>
          <p:cNvSpPr>
            <a:spLocks noGrp="1"/>
          </p:cNvSpPr>
          <p:nvPr>
            <p:ph type="sldNum" sz="quarter" idx="10"/>
          </p:nvPr>
        </p:nvSpPr>
        <p:spPr/>
        <p:txBody>
          <a:bodyPr/>
          <a:lstStyle/>
          <a:p>
            <a:fld id="{88FA8183-C6B3-4DE4-B51C-45EC073A885A}" type="slidenum">
              <a:rPr lang="en-GB" smtClean="0"/>
              <a:t>13</a:t>
            </a:fld>
            <a:endParaRPr lang="en-GB"/>
          </a:p>
        </p:txBody>
      </p:sp>
    </p:spTree>
    <p:extLst>
      <p:ext uri="{BB962C8B-B14F-4D97-AF65-F5344CB8AC3E}">
        <p14:creationId xmlns:p14="http://schemas.microsoft.com/office/powerpoint/2010/main" val="909521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40063" y="4659313"/>
            <a:ext cx="41411526" cy="232949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8FA8183-C6B3-4DE4-B51C-45EC073A885A}" type="slidenum">
              <a:rPr lang="en-GB" smtClean="0"/>
              <a:t>14</a:t>
            </a:fld>
            <a:endParaRPr lang="en-GB"/>
          </a:p>
        </p:txBody>
      </p:sp>
    </p:spTree>
    <p:extLst>
      <p:ext uri="{BB962C8B-B14F-4D97-AF65-F5344CB8AC3E}">
        <p14:creationId xmlns:p14="http://schemas.microsoft.com/office/powerpoint/2010/main" val="36777168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40063" y="4659313"/>
            <a:ext cx="41411526" cy="23294975"/>
          </a:xfrm>
        </p:spPr>
      </p:sp>
      <p:sp>
        <p:nvSpPr>
          <p:cNvPr id="3" name="Notes Placeholder 2"/>
          <p:cNvSpPr>
            <a:spLocks noGrp="1"/>
          </p:cNvSpPr>
          <p:nvPr>
            <p:ph type="body" idx="1"/>
          </p:nvPr>
        </p:nvSpPr>
        <p:spPr/>
        <p:txBody>
          <a:bodyPr/>
          <a:lstStyle/>
          <a:p>
            <a:r>
              <a:rPr lang="nb-NO" dirty="0"/>
              <a:t>Spør</a:t>
            </a:r>
            <a:r>
              <a:rPr lang="nb-NO" baseline="0" dirty="0"/>
              <a:t> gruppen hvem er villige til å bistå med svar til spørsmål som dukker opp under tegning av prosess i Visio</a:t>
            </a:r>
            <a:endParaRPr lang="nb-NO" dirty="0"/>
          </a:p>
        </p:txBody>
      </p:sp>
      <p:sp>
        <p:nvSpPr>
          <p:cNvPr id="4" name="Slide Number Placeholder 3"/>
          <p:cNvSpPr>
            <a:spLocks noGrp="1"/>
          </p:cNvSpPr>
          <p:nvPr>
            <p:ph type="sldNum" sz="quarter" idx="10"/>
          </p:nvPr>
        </p:nvSpPr>
        <p:spPr/>
        <p:txBody>
          <a:bodyPr/>
          <a:lstStyle/>
          <a:p>
            <a:fld id="{88FA8183-C6B3-4DE4-B51C-45EC073A885A}" type="slidenum">
              <a:rPr lang="en-GB" smtClean="0"/>
              <a:t>16</a:t>
            </a:fld>
            <a:endParaRPr lang="en-GB"/>
          </a:p>
        </p:txBody>
      </p:sp>
    </p:spTree>
    <p:extLst>
      <p:ext uri="{BB962C8B-B14F-4D97-AF65-F5344CB8AC3E}">
        <p14:creationId xmlns:p14="http://schemas.microsoft.com/office/powerpoint/2010/main" val="11771521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40063" y="4659313"/>
            <a:ext cx="41411526" cy="23294975"/>
          </a:xfrm>
        </p:spPr>
      </p:sp>
      <p:sp>
        <p:nvSpPr>
          <p:cNvPr id="3" name="Notes Placeholder 2"/>
          <p:cNvSpPr>
            <a:spLocks noGrp="1"/>
          </p:cNvSpPr>
          <p:nvPr>
            <p:ph type="body" idx="1"/>
          </p:nvPr>
        </p:nvSpPr>
        <p:spPr/>
        <p:txBody>
          <a:bodyPr/>
          <a:lstStyle/>
          <a:p>
            <a:r>
              <a:rPr lang="nb-NO" dirty="0"/>
              <a:t>Vise og illustrere</a:t>
            </a:r>
            <a:r>
              <a:rPr lang="nb-NO" baseline="0" dirty="0"/>
              <a:t> </a:t>
            </a:r>
            <a:r>
              <a:rPr lang="nb-NO" u="sng" baseline="0" dirty="0"/>
              <a:t>et</a:t>
            </a:r>
            <a:r>
              <a:rPr lang="nb-NO" baseline="0" dirty="0"/>
              <a:t> eksempel og drille ned med 5 hvorfor</a:t>
            </a:r>
          </a:p>
          <a:p>
            <a:endParaRPr lang="nb-NO"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11960869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40063" y="4659313"/>
            <a:ext cx="41411526" cy="23294975"/>
          </a:xfrm>
        </p:spPr>
      </p:sp>
      <p:sp>
        <p:nvSpPr>
          <p:cNvPr id="3" name="Notes Placeholder 2"/>
          <p:cNvSpPr>
            <a:spLocks noGrp="1"/>
          </p:cNvSpPr>
          <p:nvPr>
            <p:ph type="body" idx="1"/>
          </p:nvPr>
        </p:nvSpPr>
        <p:spPr/>
        <p:txBody>
          <a:bodyPr/>
          <a:lstStyle/>
          <a:p>
            <a:pPr defTabSz="1946209">
              <a:defRPr/>
            </a:pPr>
            <a:r>
              <a:rPr lang="nb-NO" dirty="0"/>
              <a:t>Denne agendaen tar utgangspunkt i en 3-4 timers workshop. Vi anbefaler å bruke 30 – 45 min på punkt 1-3 og resten på arbeid i grupper og plenum med å tegne opp første versjon av prosessen</a:t>
            </a:r>
          </a:p>
          <a:p>
            <a:pPr defTabSz="1946209">
              <a:defRPr/>
            </a:pPr>
            <a:endParaRPr lang="nb-NO" dirty="0"/>
          </a:p>
          <a:p>
            <a:pPr defTabSz="1946209">
              <a:defRPr/>
            </a:pPr>
            <a:r>
              <a:rPr lang="nb-NO" dirty="0"/>
              <a:t>Vurder å si noe om «spilleregler» i</a:t>
            </a:r>
            <a:r>
              <a:rPr lang="nb-NO" baseline="0" dirty="0"/>
              <a:t> forbindelse med forventninger – du kan som prosessleder ha forventninger til «åpen dialog», «gjensidig respekt», lytte før vi snakker, osv. </a:t>
            </a:r>
            <a:endParaRPr lang="en-GB" dirty="0"/>
          </a:p>
          <a:p>
            <a:pPr marL="973104" indent="-973104">
              <a:buFont typeface="+mj-lt"/>
              <a:buAutoNum type="arabicPeriod"/>
            </a:pPr>
            <a:endParaRPr lang="nb-NO" dirty="0"/>
          </a:p>
          <a:p>
            <a:pPr marL="973104" indent="-973104">
              <a:buFont typeface="+mj-lt"/>
              <a:buAutoNum type="arabicPeriod"/>
            </a:pPr>
            <a:endParaRPr lang="nb-NO" dirty="0"/>
          </a:p>
          <a:p>
            <a:endParaRPr lang="en-GB" dirty="0"/>
          </a:p>
        </p:txBody>
      </p:sp>
      <p:sp>
        <p:nvSpPr>
          <p:cNvPr id="4" name="Slide Number Placeholder 3"/>
          <p:cNvSpPr>
            <a:spLocks noGrp="1"/>
          </p:cNvSpPr>
          <p:nvPr>
            <p:ph type="sldNum" sz="quarter" idx="10"/>
          </p:nvPr>
        </p:nvSpPr>
        <p:spPr/>
        <p:txBody>
          <a:bodyPr/>
          <a:lstStyle/>
          <a:p>
            <a:fld id="{88FA8183-C6B3-4DE4-B51C-45EC073A885A}" type="slidenum">
              <a:rPr lang="en-GB" smtClean="0"/>
              <a:t>3</a:t>
            </a:fld>
            <a:endParaRPr lang="en-GB"/>
          </a:p>
        </p:txBody>
      </p:sp>
    </p:spTree>
    <p:extLst>
      <p:ext uri="{BB962C8B-B14F-4D97-AF65-F5344CB8AC3E}">
        <p14:creationId xmlns:p14="http://schemas.microsoft.com/office/powerpoint/2010/main" val="4289317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40063" y="4659313"/>
            <a:ext cx="41411526" cy="23294975"/>
          </a:xfrm>
        </p:spPr>
      </p:sp>
      <p:sp>
        <p:nvSpPr>
          <p:cNvPr id="3" name="Notes Placeholder 2"/>
          <p:cNvSpPr>
            <a:spLocks noGrp="1"/>
          </p:cNvSpPr>
          <p:nvPr>
            <p:ph type="body" idx="1"/>
          </p:nvPr>
        </p:nvSpPr>
        <p:spPr/>
        <p:txBody>
          <a:bodyPr/>
          <a:lstStyle/>
          <a:p>
            <a:pPr marL="0" indent="0">
              <a:buNone/>
            </a:pPr>
            <a:endParaRPr lang="nb-NO" dirty="0">
              <a:cs typeface="Arial"/>
            </a:endParaRPr>
          </a:p>
          <a:p>
            <a:endParaRPr lang="en-GB" dirty="0"/>
          </a:p>
        </p:txBody>
      </p:sp>
      <p:sp>
        <p:nvSpPr>
          <p:cNvPr id="4" name="Slide Number Placeholder 3"/>
          <p:cNvSpPr>
            <a:spLocks noGrp="1"/>
          </p:cNvSpPr>
          <p:nvPr>
            <p:ph type="sldNum" sz="quarter" idx="10"/>
          </p:nvPr>
        </p:nvSpPr>
        <p:spPr/>
        <p:txBody>
          <a:bodyPr/>
          <a:lstStyle/>
          <a:p>
            <a:fld id="{88FA8183-C6B3-4DE4-B51C-45EC073A885A}" type="slidenum">
              <a:rPr lang="en-GB" smtClean="0"/>
              <a:t>4</a:t>
            </a:fld>
            <a:endParaRPr lang="en-GB"/>
          </a:p>
        </p:txBody>
      </p:sp>
    </p:spTree>
    <p:extLst>
      <p:ext uri="{BB962C8B-B14F-4D97-AF65-F5344CB8AC3E}">
        <p14:creationId xmlns:p14="http://schemas.microsoft.com/office/powerpoint/2010/main" val="7712550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40063" y="4659313"/>
            <a:ext cx="41411526" cy="23294975"/>
          </a:xfrm>
        </p:spPr>
      </p:sp>
      <p:sp>
        <p:nvSpPr>
          <p:cNvPr id="3" name="Notes Placeholder 2"/>
          <p:cNvSpPr>
            <a:spLocks noGrp="1"/>
          </p:cNvSpPr>
          <p:nvPr>
            <p:ph type="body" idx="1"/>
          </p:nvPr>
        </p:nvSpPr>
        <p:spPr/>
        <p:txBody>
          <a:bodyPr/>
          <a:lstStyle/>
          <a:p>
            <a:pPr defTabSz="1946209" eaLnBrk="0" fontAlgn="base" hangingPunct="0">
              <a:spcBef>
                <a:spcPct val="0"/>
              </a:spcBef>
              <a:spcAft>
                <a:spcPct val="0"/>
              </a:spcAft>
            </a:pPr>
            <a:r>
              <a:rPr lang="nb-NO" dirty="0">
                <a:latin typeface="Arial" charset="0"/>
                <a:ea typeface="ヒラギノ角ゴ Pro W3" charset="-128"/>
                <a:cs typeface="ヒラギノ角ゴ Pro W3" charset="-128"/>
              </a:rPr>
              <a:t>UiOs rammeverk for prosessforbedring er utviklet for at vi skal ha en felles metode, med tydelige</a:t>
            </a:r>
            <a:r>
              <a:rPr lang="nb-NO" baseline="0" dirty="0">
                <a:latin typeface="Arial" charset="0"/>
                <a:ea typeface="ヒラギノ角ゴ Pro W3" charset="-128"/>
                <a:cs typeface="ヒラギノ角ゴ Pro W3" charset="-128"/>
              </a:rPr>
              <a:t> faser og roller og ansvar i prosessforbedring. </a:t>
            </a:r>
          </a:p>
          <a:p>
            <a:pPr defTabSz="1946209" eaLnBrk="0" fontAlgn="base" hangingPunct="0">
              <a:spcBef>
                <a:spcPct val="0"/>
              </a:spcBef>
              <a:spcAft>
                <a:spcPct val="0"/>
              </a:spcAft>
            </a:pPr>
            <a:endParaRPr kumimoji="0" lang="nb-NO" b="0" i="0" u="none" strike="noStrike" cap="none" normalizeH="0" baseline="0" dirty="0">
              <a:ln>
                <a:noFill/>
              </a:ln>
              <a:solidFill>
                <a:schemeClr val="tx1"/>
              </a:solidFill>
              <a:effectLst/>
              <a:latin typeface="Arial" charset="0"/>
              <a:ea typeface="ヒラギノ角ゴ Pro W3" charset="-128"/>
              <a:cs typeface="ヒラギノ角ゴ Pro W3" charset="-128"/>
            </a:endParaRPr>
          </a:p>
          <a:p>
            <a:pPr defTabSz="1946209" eaLnBrk="0" fontAlgn="base" hangingPunct="0">
              <a:spcBef>
                <a:spcPct val="0"/>
              </a:spcBef>
              <a:spcAft>
                <a:spcPct val="0"/>
              </a:spcAft>
            </a:pPr>
            <a:r>
              <a:rPr kumimoji="0" lang="nb-NO" b="0" i="0" u="none" strike="noStrike" cap="none" normalizeH="0" baseline="0" dirty="0">
                <a:ln>
                  <a:noFill/>
                </a:ln>
                <a:solidFill>
                  <a:schemeClr val="tx1"/>
                </a:solidFill>
                <a:effectLst/>
                <a:latin typeface="Arial" charset="0"/>
                <a:ea typeface="ヒラギノ角ゴ Pro W3" charset="-128"/>
                <a:cs typeface="ヒラギノ角ゴ Pro W3" charset="-128"/>
              </a:rPr>
              <a:t>Prosessforbedringen ledes av prosessleder/</a:t>
            </a:r>
            <a:r>
              <a:rPr kumimoji="0" lang="nb-NO" b="0" i="0" u="none" strike="noStrike" cap="none" normalizeH="0" baseline="0" dirty="0" err="1">
                <a:ln>
                  <a:noFill/>
                </a:ln>
                <a:solidFill>
                  <a:schemeClr val="tx1"/>
                </a:solidFill>
                <a:effectLst/>
                <a:latin typeface="Arial" charset="0"/>
                <a:ea typeface="ヒラギノ角ゴ Pro W3" charset="-128"/>
                <a:cs typeface="ヒラギノ角ゴ Pro W3" charset="-128"/>
              </a:rPr>
              <a:t>fasilitator</a:t>
            </a:r>
            <a:r>
              <a:rPr kumimoji="0" lang="nb-NO" b="0" i="0" u="none" strike="noStrike" cap="none" normalizeH="0" baseline="0" dirty="0">
                <a:ln>
                  <a:noFill/>
                </a:ln>
                <a:solidFill>
                  <a:schemeClr val="tx1"/>
                </a:solidFill>
                <a:effectLst/>
                <a:latin typeface="Arial" charset="0"/>
                <a:ea typeface="ヒラギノ角ゴ Pro W3" charset="-128"/>
                <a:cs typeface="ヒラギノ角ゴ Pro W3" charset="-128"/>
              </a:rPr>
              <a:t> som er en nøytral rolle som leder workshops hvor arbeidsgruppe kartlegger og beskriver nåsituasjon, identifiserer utfordringer og forbedringsområder og lager forslag til en ønsket situasjon hvor de tegner opp en forbedret prosess som så testes/piloteres. </a:t>
            </a:r>
            <a:endParaRPr kumimoji="0" lang="en-GB" b="0" i="0" u="none" strike="noStrike" cap="none" normalizeH="0" baseline="0" dirty="0">
              <a:ln>
                <a:noFill/>
              </a:ln>
              <a:solidFill>
                <a:schemeClr val="tx1"/>
              </a:solidFill>
              <a:effectLst/>
              <a:latin typeface="Arial" charset="0"/>
              <a:ea typeface="ヒラギノ角ゴ Pro W3" charset="-128"/>
              <a:cs typeface="ヒラギノ角ゴ Pro W3" charset="-128"/>
            </a:endParaRPr>
          </a:p>
          <a:p>
            <a:endParaRPr lang="nb-NO" dirty="0"/>
          </a:p>
        </p:txBody>
      </p:sp>
      <p:sp>
        <p:nvSpPr>
          <p:cNvPr id="4" name="Slide Number Placeholder 3"/>
          <p:cNvSpPr>
            <a:spLocks noGrp="1"/>
          </p:cNvSpPr>
          <p:nvPr>
            <p:ph type="sldNum" sz="quarter" idx="10"/>
          </p:nvPr>
        </p:nvSpPr>
        <p:spPr/>
        <p:txBody>
          <a:bodyPr/>
          <a:lstStyle/>
          <a:p>
            <a:fld id="{88FA8183-C6B3-4DE4-B51C-45EC073A885A}" type="slidenum">
              <a:rPr lang="en-GB" smtClean="0"/>
              <a:t>5</a:t>
            </a:fld>
            <a:endParaRPr lang="en-GB"/>
          </a:p>
        </p:txBody>
      </p:sp>
    </p:spTree>
    <p:extLst>
      <p:ext uri="{BB962C8B-B14F-4D97-AF65-F5344CB8AC3E}">
        <p14:creationId xmlns:p14="http://schemas.microsoft.com/office/powerpoint/2010/main" val="17520627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40063" y="4659313"/>
            <a:ext cx="41411526" cy="232949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8FA8183-C6B3-4DE4-B51C-45EC073A885A}" type="slidenum">
              <a:rPr lang="en-GB" smtClean="0"/>
              <a:t>6</a:t>
            </a:fld>
            <a:endParaRPr lang="en-GB"/>
          </a:p>
        </p:txBody>
      </p:sp>
    </p:spTree>
    <p:extLst>
      <p:ext uri="{BB962C8B-B14F-4D97-AF65-F5344CB8AC3E}">
        <p14:creationId xmlns:p14="http://schemas.microsoft.com/office/powerpoint/2010/main" val="16856436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40063" y="4659313"/>
            <a:ext cx="41411526" cy="23294975"/>
          </a:xfrm>
        </p:spPr>
      </p:sp>
      <p:sp>
        <p:nvSpPr>
          <p:cNvPr id="3" name="Notes Placeholder 2"/>
          <p:cNvSpPr>
            <a:spLocks noGrp="1"/>
          </p:cNvSpPr>
          <p:nvPr>
            <p:ph type="body" idx="1"/>
          </p:nvPr>
        </p:nvSpPr>
        <p:spPr/>
        <p:txBody>
          <a:bodyPr>
            <a:normAutofit/>
          </a:bodyPr>
          <a:lstStyle/>
          <a:p>
            <a:r>
              <a:rPr lang="nb-NO" dirty="0"/>
              <a:t>WS 1:</a:t>
            </a:r>
          </a:p>
          <a:p>
            <a:endParaRPr lang="nb-NO" dirty="0"/>
          </a:p>
          <a:p>
            <a:r>
              <a:rPr lang="nb-NO" dirty="0"/>
              <a:t>WS 2:</a:t>
            </a:r>
          </a:p>
          <a:p>
            <a:endParaRPr lang="nb-NO" dirty="0"/>
          </a:p>
          <a:p>
            <a:r>
              <a:rPr lang="nb-NO" dirty="0"/>
              <a:t>WS 3:</a:t>
            </a:r>
          </a:p>
          <a:p>
            <a:endParaRPr lang="nb-NO" dirty="0"/>
          </a:p>
          <a:p>
            <a:r>
              <a:rPr lang="nb-NO" dirty="0"/>
              <a:t>WS 4:</a:t>
            </a:r>
          </a:p>
          <a:p>
            <a:endParaRPr lang="nb-NO" dirty="0"/>
          </a:p>
          <a:p>
            <a:r>
              <a:rPr lang="nb-NO" dirty="0"/>
              <a:t>WS 5:</a:t>
            </a:r>
          </a:p>
        </p:txBody>
      </p:sp>
      <p:sp>
        <p:nvSpPr>
          <p:cNvPr id="4" name="Slide Number Placeholder 3"/>
          <p:cNvSpPr>
            <a:spLocks noGrp="1"/>
          </p:cNvSpPr>
          <p:nvPr>
            <p:ph type="sldNum" sz="quarter" idx="10"/>
          </p:nvPr>
        </p:nvSpPr>
        <p:spPr/>
        <p:txBody>
          <a:bodyPr/>
          <a:lstStyle/>
          <a:p>
            <a:fld id="{C0F4A2C8-6C88-4E71-83EE-698B9D4FE22F}" type="slidenum">
              <a:rPr lang="nb-NO" smtClean="0"/>
              <a:pPr/>
              <a:t>7</a:t>
            </a:fld>
            <a:endParaRPr lang="nb-NO" dirty="0"/>
          </a:p>
        </p:txBody>
      </p:sp>
    </p:spTree>
    <p:extLst>
      <p:ext uri="{BB962C8B-B14F-4D97-AF65-F5344CB8AC3E}">
        <p14:creationId xmlns:p14="http://schemas.microsoft.com/office/powerpoint/2010/main" val="26746457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40063" y="4659313"/>
            <a:ext cx="41411526" cy="23294975"/>
          </a:xfrm>
        </p:spPr>
      </p:sp>
      <p:sp>
        <p:nvSpPr>
          <p:cNvPr id="3" name="Notes Placeholder 2"/>
          <p:cNvSpPr>
            <a:spLocks noGrp="1"/>
          </p:cNvSpPr>
          <p:nvPr>
            <p:ph type="body" idx="1"/>
          </p:nvPr>
        </p:nvSpPr>
        <p:spPr/>
        <p:txBody>
          <a:bodyPr/>
          <a:lstStyle/>
          <a:p>
            <a:r>
              <a:rPr lang="nb-NO" dirty="0"/>
              <a:t>Denne foilen er ment å gi bakgrunnsinformasjon om prosessen, hvorfor den utføres</a:t>
            </a:r>
            <a:r>
              <a:rPr lang="nb-NO" baseline="0" dirty="0"/>
              <a:t> og hvem den er til for.</a:t>
            </a:r>
          </a:p>
          <a:p>
            <a:endParaRPr lang="nb-NO" baseline="0" dirty="0"/>
          </a:p>
          <a:p>
            <a:r>
              <a:rPr lang="nb-NO" baseline="0" dirty="0"/>
              <a:t>Brukere er her de rollene/funksjonene i administrasjonen som jobber med prosessen (eksempelvis studiekonsulenter og eiendomsavdelingen for </a:t>
            </a:r>
            <a:r>
              <a:rPr lang="nb-NO" baseline="0" dirty="0" err="1"/>
              <a:t>boooking</a:t>
            </a:r>
            <a:r>
              <a:rPr lang="nb-NO" baseline="0" dirty="0"/>
              <a:t> av lokaler og rom til arrangementer og studentforeninger som sluttbrukere – de som mottar tjenesten). Når arbeidsgrupper skal i gang med kartlegging og forbedring av prosesser er det viktig å ha et tydelig bilde av både hvem som bruker tjenesten og hvem som er mottaker av den (sluttbruker).</a:t>
            </a:r>
            <a:endParaRPr lang="en-GB" dirty="0"/>
          </a:p>
        </p:txBody>
      </p:sp>
      <p:sp>
        <p:nvSpPr>
          <p:cNvPr id="4" name="Slide Number Placeholder 3"/>
          <p:cNvSpPr>
            <a:spLocks noGrp="1"/>
          </p:cNvSpPr>
          <p:nvPr>
            <p:ph type="sldNum" sz="quarter" idx="10"/>
          </p:nvPr>
        </p:nvSpPr>
        <p:spPr/>
        <p:txBody>
          <a:bodyPr/>
          <a:lstStyle/>
          <a:p>
            <a:fld id="{88FA8183-C6B3-4DE4-B51C-45EC073A885A}" type="slidenum">
              <a:rPr lang="en-GB" smtClean="0"/>
              <a:t>8</a:t>
            </a:fld>
            <a:endParaRPr lang="en-GB"/>
          </a:p>
        </p:txBody>
      </p:sp>
    </p:spTree>
    <p:extLst>
      <p:ext uri="{BB962C8B-B14F-4D97-AF65-F5344CB8AC3E}">
        <p14:creationId xmlns:p14="http://schemas.microsoft.com/office/powerpoint/2010/main" val="2760427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5740063" y="4659313"/>
            <a:ext cx="41411526" cy="23294975"/>
          </a:xfrm>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kern="0" dirty="0">
                <a:solidFill>
                  <a:prstClr val="black"/>
                </a:solidFill>
                <a:latin typeface="Arial"/>
              </a:rPr>
              <a:t>En prosessoversikt er en metode for å visualisere sekvensene og bevegelsene av informasjon, materialer, samt alle nødvendige aktiviteter for å kunne levere en tjeneste eller fullføre en arbeidsprosess fra A til Å</a:t>
            </a:r>
          </a:p>
          <a:p>
            <a:endParaRPr lang="nb-NO" dirty="0"/>
          </a:p>
          <a:p>
            <a:pPr marL="0" indent="0" defTabSz="995519">
              <a:spcBef>
                <a:spcPct val="20000"/>
              </a:spcBef>
              <a:spcAft>
                <a:spcPct val="0"/>
              </a:spcAft>
              <a:buFont typeface="Arial" pitchFamily="34" charset="0"/>
              <a:buNone/>
              <a:tabLst>
                <a:tab pos="6221993" algn="l"/>
              </a:tabLst>
            </a:pPr>
            <a:r>
              <a:rPr lang="nb-NO" kern="0" dirty="0">
                <a:solidFill>
                  <a:prstClr val="black"/>
                </a:solidFill>
                <a:latin typeface="Arial"/>
                <a:ea typeface="Verdana" panose="020B0604030504040204" pitchFamily="34" charset="0"/>
                <a:cs typeface="Verdana" panose="020B0604030504040204" pitchFamily="34" charset="0"/>
              </a:rPr>
              <a:t>Gir medarbeiderne mulighet til å:</a:t>
            </a:r>
          </a:p>
          <a:p>
            <a:pPr defTabSz="995519">
              <a:spcBef>
                <a:spcPct val="20000"/>
              </a:spcBef>
              <a:spcAft>
                <a:spcPct val="0"/>
              </a:spcAft>
              <a:buFontTx/>
              <a:buChar char="-"/>
              <a:tabLst>
                <a:tab pos="6221993" algn="l"/>
              </a:tabLst>
            </a:pPr>
            <a:r>
              <a:rPr lang="nb-NO" kern="0" dirty="0">
                <a:solidFill>
                  <a:prstClr val="black"/>
                </a:solidFill>
                <a:latin typeface="Arial"/>
                <a:ea typeface="Verdana" panose="020B0604030504040204" pitchFamily="34" charset="0"/>
                <a:cs typeface="Verdana" panose="020B0604030504040204" pitchFamily="34" charset="0"/>
              </a:rPr>
              <a:t>identifisere sløsing</a:t>
            </a:r>
          </a:p>
          <a:p>
            <a:pPr defTabSz="995519">
              <a:spcBef>
                <a:spcPct val="20000"/>
              </a:spcBef>
              <a:spcAft>
                <a:spcPct val="0"/>
              </a:spcAft>
              <a:buFontTx/>
              <a:buChar char="-"/>
              <a:tabLst>
                <a:tab pos="6221993" algn="l"/>
              </a:tabLst>
            </a:pPr>
            <a:r>
              <a:rPr lang="nb-NO" kern="0" dirty="0">
                <a:solidFill>
                  <a:prstClr val="black"/>
                </a:solidFill>
                <a:latin typeface="Arial"/>
                <a:ea typeface="Verdana" panose="020B0604030504040204" pitchFamily="34" charset="0"/>
                <a:cs typeface="Verdana" panose="020B0604030504040204" pitchFamily="34" charset="0"/>
              </a:rPr>
              <a:t>skille verdiskapende aktiviteter fra ikke-verdiskapende</a:t>
            </a:r>
          </a:p>
          <a:p>
            <a:pPr defTabSz="995519">
              <a:spcBef>
                <a:spcPct val="20000"/>
              </a:spcBef>
              <a:spcAft>
                <a:spcPct val="0"/>
              </a:spcAft>
              <a:buFontTx/>
              <a:buChar char="-"/>
              <a:tabLst>
                <a:tab pos="6221993" algn="l"/>
              </a:tabLst>
            </a:pPr>
            <a:r>
              <a:rPr lang="nb-NO" kern="0" dirty="0">
                <a:solidFill>
                  <a:prstClr val="black"/>
                </a:solidFill>
                <a:latin typeface="Arial"/>
                <a:ea typeface="Verdana" panose="020B0604030504040204" pitchFamily="34" charset="0"/>
                <a:cs typeface="Verdana" panose="020B0604030504040204" pitchFamily="34" charset="0"/>
              </a:rPr>
              <a:t>etablere forbedringsmuligheter </a:t>
            </a:r>
          </a:p>
          <a:p>
            <a:endParaRPr lang="nb-NO" dirty="0"/>
          </a:p>
          <a:p>
            <a:endParaRPr lang="nb-NO" dirty="0"/>
          </a:p>
        </p:txBody>
      </p:sp>
      <p:sp>
        <p:nvSpPr>
          <p:cNvPr id="4" name="Plassholder for lysbildenummer 3"/>
          <p:cNvSpPr>
            <a:spLocks noGrp="1"/>
          </p:cNvSpPr>
          <p:nvPr>
            <p:ph type="sldNum" sz="quarter" idx="10"/>
          </p:nvPr>
        </p:nvSpPr>
        <p:spPr/>
        <p:txBody>
          <a:bodyPr/>
          <a:lstStyle/>
          <a:p>
            <a:fld id="{88FA8183-C6B3-4DE4-B51C-45EC073A885A}" type="slidenum">
              <a:rPr lang="en-GB" smtClean="0"/>
              <a:t>9</a:t>
            </a:fld>
            <a:endParaRPr lang="en-GB"/>
          </a:p>
        </p:txBody>
      </p:sp>
    </p:spTree>
    <p:extLst>
      <p:ext uri="{BB962C8B-B14F-4D97-AF65-F5344CB8AC3E}">
        <p14:creationId xmlns:p14="http://schemas.microsoft.com/office/powerpoint/2010/main" val="39430198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40063" y="4659313"/>
            <a:ext cx="41411526" cy="23294975"/>
          </a:xfrm>
        </p:spPr>
      </p:sp>
      <p:sp>
        <p:nvSpPr>
          <p:cNvPr id="3" name="Notes Placeholder 2"/>
          <p:cNvSpPr>
            <a:spLocks noGrp="1"/>
          </p:cNvSpPr>
          <p:nvPr>
            <p:ph type="body" idx="1"/>
          </p:nvPr>
        </p:nvSpPr>
        <p:spPr/>
        <p:txBody>
          <a:bodyPr/>
          <a:lstStyle/>
          <a:p>
            <a:r>
              <a:rPr lang="nb-NO" dirty="0">
                <a:cs typeface="Arial"/>
              </a:rPr>
              <a:t>Få</a:t>
            </a:r>
            <a:r>
              <a:rPr lang="nb-NO" baseline="0" dirty="0">
                <a:cs typeface="Arial"/>
              </a:rPr>
              <a:t> inn hjelpespørsmål</a:t>
            </a:r>
            <a:endParaRPr lang="nb-NO" dirty="0">
              <a:cs typeface="Arial"/>
            </a:endParaRPr>
          </a:p>
          <a:p>
            <a:endParaRPr lang="nb-NO" dirty="0">
              <a:cs typeface="Arial"/>
            </a:endParaRPr>
          </a:p>
          <a:p>
            <a:r>
              <a:rPr lang="nb-NO" dirty="0">
                <a:cs typeface="Arial"/>
              </a:rPr>
              <a:t>Her må vi sette inn et eksempel – i alle fall forklare at målet med dagen er å få en oversikt over prosessen og starte på mulige forbedringsområder – kommer også tilbake til dette i WS 2</a:t>
            </a:r>
          </a:p>
          <a:p>
            <a:endParaRPr lang="nb-NO" dirty="0">
              <a:cs typeface="Arial"/>
            </a:endParaRPr>
          </a:p>
          <a:p>
            <a:endParaRPr lang="nb-NO" dirty="0">
              <a:cs typeface="Arial"/>
            </a:endParaRPr>
          </a:p>
          <a:p>
            <a:r>
              <a:rPr lang="nb-NO" dirty="0">
                <a:cs typeface="Arial"/>
              </a:rPr>
              <a:t>Utfordringer/tidstyver - bedre å kalle det identifiserte mulige forbedringsområder [har </a:t>
            </a:r>
            <a:r>
              <a:rPr lang="nb-NO" dirty="0" err="1">
                <a:cs typeface="Arial"/>
              </a:rPr>
              <a:t>omdåpet</a:t>
            </a:r>
            <a:r>
              <a:rPr lang="nb-NO" dirty="0">
                <a:cs typeface="Arial"/>
              </a:rPr>
              <a:t> den til «</a:t>
            </a:r>
            <a:r>
              <a:rPr lang="nb-NO" baseline="0" dirty="0">
                <a:cs typeface="Arial"/>
              </a:rPr>
              <a:t>Utfordringer/forbedringsområder»-</a:t>
            </a:r>
            <a:r>
              <a:rPr lang="nb-NO" baseline="0" dirty="0" err="1">
                <a:cs typeface="Arial"/>
              </a:rPr>
              <a:t>alb</a:t>
            </a:r>
            <a:r>
              <a:rPr lang="nb-NO" baseline="0" dirty="0">
                <a:cs typeface="Arial"/>
              </a:rPr>
              <a:t>]</a:t>
            </a:r>
            <a:endParaRPr lang="nb-NO" dirty="0">
              <a:cs typeface="Arial"/>
            </a:endParaRPr>
          </a:p>
          <a:p>
            <a:endParaRPr lang="nb-NO" dirty="0">
              <a:cs typeface="Arial"/>
            </a:endParaRPr>
          </a:p>
          <a:p>
            <a:r>
              <a:rPr lang="nb-NO" dirty="0">
                <a:cs typeface="Arial"/>
              </a:rPr>
              <a:t>Eksempler her – hva er </a:t>
            </a:r>
            <a:r>
              <a:rPr lang="nb-NO" dirty="0" err="1">
                <a:cs typeface="Arial"/>
              </a:rPr>
              <a:t>hovedsteg</a:t>
            </a:r>
            <a:r>
              <a:rPr lang="nb-NO" dirty="0">
                <a:cs typeface="Arial"/>
              </a:rPr>
              <a:t> og aktiviteter under</a:t>
            </a:r>
            <a:endParaRPr lang="nb-NO" dirty="0"/>
          </a:p>
        </p:txBody>
      </p:sp>
      <p:sp>
        <p:nvSpPr>
          <p:cNvPr id="4" name="Slide Number Placeholder 3"/>
          <p:cNvSpPr>
            <a:spLocks noGrp="1"/>
          </p:cNvSpPr>
          <p:nvPr>
            <p:ph type="sldNum" sz="quarter" idx="10"/>
          </p:nvPr>
        </p:nvSpPr>
        <p:spPr/>
        <p:txBody>
          <a:bodyPr/>
          <a:lstStyle/>
          <a:p>
            <a:fld id="{01CE7F7D-525D-3A40-9750-50C1D1684B69}" type="slidenum">
              <a:rPr lang="nb-NO" smtClean="0"/>
              <a:t>10</a:t>
            </a:fld>
            <a:endParaRPr lang="nb-NO"/>
          </a:p>
        </p:txBody>
      </p:sp>
    </p:spTree>
    <p:extLst>
      <p:ext uri="{BB962C8B-B14F-4D97-AF65-F5344CB8AC3E}">
        <p14:creationId xmlns:p14="http://schemas.microsoft.com/office/powerpoint/2010/main" val="20212079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ctrTitle" sz="quarter"/>
          </p:nvPr>
        </p:nvSpPr>
        <p:spPr>
          <a:xfrm>
            <a:off x="1177540" y="2300554"/>
            <a:ext cx="10058400" cy="1143000"/>
          </a:xfrm>
        </p:spPr>
        <p:txBody>
          <a:bodyPr anchor="b"/>
          <a:lstStyle>
            <a:lvl1pPr>
              <a:defRPr sz="1600"/>
            </a:lvl1pPr>
          </a:lstStyle>
          <a:p>
            <a:r>
              <a:rPr lang="en-US"/>
              <a:t>Click to edit Master title style</a:t>
            </a:r>
          </a:p>
        </p:txBody>
      </p:sp>
      <p:sp>
        <p:nvSpPr>
          <p:cNvPr id="3075" name="Rectangle 3"/>
          <p:cNvSpPr>
            <a:spLocks noGrp="1" noChangeArrowheads="1"/>
          </p:cNvSpPr>
          <p:nvPr>
            <p:ph type="subTitle" sz="quarter" idx="1"/>
          </p:nvPr>
        </p:nvSpPr>
        <p:spPr>
          <a:xfrm>
            <a:off x="1177540" y="3429000"/>
            <a:ext cx="10058400" cy="1752600"/>
          </a:xfrm>
        </p:spPr>
        <p:txBody>
          <a:bodyPr/>
          <a:lstStyle>
            <a:lvl1pPr marL="0" indent="0">
              <a:buFontTx/>
              <a:buNone/>
              <a:defRPr/>
            </a:lvl1pPr>
          </a:lstStyle>
          <a:p>
            <a:r>
              <a:rPr lang="en-US"/>
              <a:t>Click to edit Master subtitle style</a:t>
            </a:r>
          </a:p>
        </p:txBody>
      </p:sp>
    </p:spTree>
    <p:extLst>
      <p:ext uri="{BB962C8B-B14F-4D97-AF65-F5344CB8AC3E}">
        <p14:creationId xmlns:p14="http://schemas.microsoft.com/office/powerpoint/2010/main" val="18093459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2000"/>
            </a:lvl1pPr>
          </a:lstStyle>
          <a:p>
            <a:r>
              <a:rPr lang="nb-NO" noProof="0" err="1"/>
              <a:t>Click</a:t>
            </a:r>
            <a:r>
              <a:rPr lang="nb-NO" noProof="0"/>
              <a:t> to </a:t>
            </a:r>
            <a:r>
              <a:rPr lang="nb-NO" noProof="0" err="1"/>
              <a:t>edit</a:t>
            </a:r>
            <a:r>
              <a:rPr lang="nb-NO" noProof="0"/>
              <a:t> Master </a:t>
            </a:r>
            <a:r>
              <a:rPr lang="nb-NO" noProof="0" err="1"/>
              <a:t>title</a:t>
            </a:r>
            <a:r>
              <a:rPr lang="nb-NO" noProof="0"/>
              <a:t> style</a:t>
            </a:r>
          </a:p>
        </p:txBody>
      </p:sp>
      <p:sp>
        <p:nvSpPr>
          <p:cNvPr id="9"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nb-NO" noProof="0"/>
              <a:t>Click to add subtit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nb-NO" noProof="0" err="1"/>
              <a:t>Click</a:t>
            </a:r>
            <a:r>
              <a:rPr lang="nb-NO" noProof="0"/>
              <a:t> to </a:t>
            </a:r>
            <a:r>
              <a:rPr lang="nb-NO" noProof="0" err="1"/>
              <a:t>edit</a:t>
            </a:r>
            <a:r>
              <a:rPr lang="nb-NO" noProof="0"/>
              <a:t> Master </a:t>
            </a:r>
            <a:r>
              <a:rPr lang="nb-NO" noProof="0" err="1"/>
              <a:t>text</a:t>
            </a:r>
            <a:r>
              <a:rPr lang="nb-NO" noProof="0"/>
              <a:t> styles</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2" name="Footer Placeholder 1"/>
          <p:cNvSpPr>
            <a:spLocks noGrp="1"/>
          </p:cNvSpPr>
          <p:nvPr>
            <p:ph type="ftr" sz="quarter" idx="14"/>
          </p:nvPr>
        </p:nvSpPr>
        <p:spPr>
          <a:xfrm>
            <a:off x="6184901" y="6476999"/>
            <a:ext cx="4536727" cy="244476"/>
          </a:xfrm>
          <a:prstGeom prst="rect">
            <a:avLst/>
          </a:prstGeom>
        </p:spPr>
        <p:txBody>
          <a:bodyPr/>
          <a:lstStyle/>
          <a:p>
            <a:endParaRPr lang="nb-NO"/>
          </a:p>
        </p:txBody>
      </p:sp>
    </p:spTree>
    <p:extLst>
      <p:ext uri="{BB962C8B-B14F-4D97-AF65-F5344CB8AC3E}">
        <p14:creationId xmlns:p14="http://schemas.microsoft.com/office/powerpoint/2010/main" val="238828468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3_Title and one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4" y="4"/>
          <a:ext cx="194733" cy="158751"/>
        </p:xfrm>
        <a:graphic>
          <a:graphicData uri="http://schemas.openxmlformats.org/presentationml/2006/ole">
            <mc:AlternateContent xmlns:mc="http://schemas.openxmlformats.org/markup-compatibility/2006">
              <mc:Choice xmlns:v="urn:schemas-microsoft-com:vml" Requires="v">
                <p:oleObj spid="_x0000_s1027" name="think-cell Slide" r:id="rId4" imgW="0" imgH="0" progId="TCLayout.ActiveDocument.1">
                  <p:embed/>
                </p:oleObj>
              </mc:Choice>
              <mc:Fallback>
                <p:oleObj name="think-cell Slide"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4" y="4"/>
                        <a:ext cx="194733"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bwMode="auto">
          <a:xfrm>
            <a:off x="529169" y="290519"/>
            <a:ext cx="11133667" cy="595311"/>
          </a:xfrm>
          <a:prstGeom prst="rect">
            <a:avLst/>
          </a:prstGeom>
          <a:noFill/>
          <a:ln w="9525">
            <a:noFill/>
            <a:miter lim="800000"/>
            <a:headEnd/>
            <a:tailEnd/>
          </a:ln>
        </p:spPr>
        <p:txBody>
          <a:bodyPr lIns="68580" tIns="34290" rIns="68580" bIns="34290"/>
          <a:lstStyle/>
          <a:p>
            <a:pPr lvl="0"/>
            <a:r>
              <a:rPr lang="nb-NO" noProof="0" err="1"/>
              <a:t>Click</a:t>
            </a:r>
            <a:r>
              <a:rPr lang="nb-NO" noProof="0"/>
              <a:t> to </a:t>
            </a:r>
            <a:r>
              <a:rPr lang="nb-NO" noProof="0" err="1"/>
              <a:t>edit</a:t>
            </a:r>
            <a:r>
              <a:rPr lang="nb-NO" noProof="0"/>
              <a:t> Master </a:t>
            </a:r>
            <a:r>
              <a:rPr lang="nb-NO" noProof="0" err="1"/>
              <a:t>title</a:t>
            </a:r>
            <a:r>
              <a:rPr lang="nb-NO" noProof="0"/>
              <a:t> style</a:t>
            </a:r>
          </a:p>
        </p:txBody>
      </p:sp>
      <p:sp>
        <p:nvSpPr>
          <p:cNvPr id="7" name="Slide Number Placeholder 9"/>
          <p:cNvSpPr>
            <a:spLocks noGrp="1"/>
          </p:cNvSpPr>
          <p:nvPr>
            <p:ph type="sldNum" sz="quarter" idx="4"/>
          </p:nvPr>
        </p:nvSpPr>
        <p:spPr>
          <a:xfrm>
            <a:off x="5855682" y="6576892"/>
            <a:ext cx="461433" cy="141064"/>
          </a:xfrm>
          <a:prstGeom prst="rect">
            <a:avLst/>
          </a:prstGeom>
        </p:spPr>
        <p:txBody>
          <a:bodyPr vert="horz" wrap="square" lIns="0" tIns="0" rIns="0" bIns="0" numCol="1" anchor="ctr" anchorCtr="0" compatLnSpc="1">
            <a:prstTxWarp prst="textNoShape">
              <a:avLst/>
            </a:prstTxWarp>
            <a:spAutoFit/>
          </a:bodyPr>
          <a:lstStyle>
            <a:lvl1pPr algn="ctr">
              <a:lnSpc>
                <a:spcPts val="1125"/>
              </a:lnSpc>
              <a:defRPr sz="800" b="0">
                <a:solidFill>
                  <a:schemeClr val="tx2"/>
                </a:solidFill>
              </a:defRPr>
            </a:lvl1pPr>
          </a:lstStyle>
          <a:p>
            <a:pPr defTabSz="609570"/>
            <a:fld id="{36A1E9A0-255F-48AA-8F8C-9F06434D4319}" type="slidenum">
              <a:rPr lang="nb-NO" smtClean="0">
                <a:solidFill>
                  <a:srgbClr val="333333"/>
                </a:solidFill>
              </a:rPr>
              <a:pPr defTabSz="609570"/>
              <a:t>‹#›</a:t>
            </a:fld>
            <a:endParaRPr lang="nb-NO">
              <a:solidFill>
                <a:srgbClr val="333333"/>
              </a:solidFill>
            </a:endParaRPr>
          </a:p>
        </p:txBody>
      </p:sp>
      <p:sp>
        <p:nvSpPr>
          <p:cNvPr id="13" name="Subtitle 2"/>
          <p:cNvSpPr>
            <a:spLocks noGrp="1"/>
          </p:cNvSpPr>
          <p:nvPr>
            <p:ph type="subTitle" idx="1"/>
          </p:nvPr>
        </p:nvSpPr>
        <p:spPr>
          <a:xfrm>
            <a:off x="525587" y="1115399"/>
            <a:ext cx="11138876" cy="260969"/>
          </a:xfrm>
          <a:prstGeom prst="rect">
            <a:avLst/>
          </a:prstGeom>
        </p:spPr>
        <p:txBody>
          <a:bodyPr wrap="square" lIns="0" tIns="0" rIns="0" bIns="0" anchor="b" anchorCtr="0">
            <a:spAutoFit/>
          </a:bodyPr>
          <a:lstStyle>
            <a:lvl1pPr marL="0" indent="0" eaLnBrk="1" hangingPunct="1">
              <a:lnSpc>
                <a:spcPct val="106000"/>
              </a:lnSpc>
              <a:spcBef>
                <a:spcPct val="15000"/>
              </a:spcBef>
              <a:buFont typeface="Wingdings 2" pitchFamily="18" charset="2"/>
              <a:buNone/>
              <a:defRPr sz="1600" b="1" smtClean="0"/>
            </a:lvl1pPr>
          </a:lstStyle>
          <a:p>
            <a:r>
              <a:rPr lang="nb-NO" noProof="0" err="1"/>
              <a:t>Click</a:t>
            </a:r>
            <a:r>
              <a:rPr lang="nb-NO" noProof="0"/>
              <a:t> to </a:t>
            </a:r>
            <a:r>
              <a:rPr lang="nb-NO" noProof="0" err="1"/>
              <a:t>edit</a:t>
            </a:r>
            <a:r>
              <a:rPr lang="nb-NO" noProof="0"/>
              <a:t> Master </a:t>
            </a:r>
            <a:r>
              <a:rPr lang="nb-NO" noProof="0" err="1"/>
              <a:t>subtitle</a:t>
            </a:r>
            <a:r>
              <a:rPr lang="nb-NO" noProof="0"/>
              <a:t> style</a:t>
            </a:r>
          </a:p>
        </p:txBody>
      </p:sp>
      <p:sp>
        <p:nvSpPr>
          <p:cNvPr id="8" name="Text Placeholder 3"/>
          <p:cNvSpPr>
            <a:spLocks noGrp="1"/>
          </p:cNvSpPr>
          <p:nvPr>
            <p:ph type="body" sz="quarter" idx="13"/>
          </p:nvPr>
        </p:nvSpPr>
        <p:spPr>
          <a:xfrm>
            <a:off x="525587" y="1393828"/>
            <a:ext cx="11138876" cy="4924425"/>
          </a:xfrm>
          <a:prstGeom prst="rect">
            <a:avLst/>
          </a:prstGeom>
        </p:spPr>
        <p:txBody>
          <a:bodyPr wrap="square" lIns="0" tIns="0" rIns="0" bIns="0"/>
          <a:lstStyle>
            <a:lvl1pPr marL="180966" indent="-180966">
              <a:lnSpc>
                <a:spcPct val="100000"/>
              </a:lnSpc>
              <a:spcBef>
                <a:spcPts val="600"/>
              </a:spcBef>
              <a:spcAft>
                <a:spcPts val="0"/>
              </a:spcAft>
              <a:buFont typeface="Arial" pitchFamily="34" charset="0"/>
              <a:buChar char="•"/>
              <a:defRPr sz="1467">
                <a:solidFill>
                  <a:schemeClr val="tx2"/>
                </a:solidFill>
              </a:defRPr>
            </a:lvl1pPr>
            <a:lvl2pPr marL="360346" indent="-179380">
              <a:lnSpc>
                <a:spcPct val="100000"/>
              </a:lnSpc>
              <a:spcBef>
                <a:spcPts val="600"/>
              </a:spcBef>
              <a:spcAft>
                <a:spcPts val="0"/>
              </a:spcAft>
              <a:buFont typeface="Arial" pitchFamily="34" charset="0"/>
              <a:buChar char="−"/>
              <a:defRPr sz="1200">
                <a:solidFill>
                  <a:schemeClr val="tx2"/>
                </a:solidFill>
              </a:defRPr>
            </a:lvl2pPr>
            <a:lvl3pPr marL="541312" indent="-171442">
              <a:lnSpc>
                <a:spcPct val="100000"/>
              </a:lnSpc>
              <a:spcBef>
                <a:spcPts val="600"/>
              </a:spcBef>
              <a:spcAft>
                <a:spcPts val="0"/>
              </a:spcAft>
              <a:buFont typeface="Arial" pitchFamily="34" charset="0"/>
              <a:buChar char="•"/>
              <a:defRPr sz="1200">
                <a:solidFill>
                  <a:schemeClr val="tx2"/>
                </a:solidFill>
              </a:defRPr>
            </a:lvl3pPr>
            <a:lvl4pPr marL="711165" indent="-179380">
              <a:lnSpc>
                <a:spcPct val="100000"/>
              </a:lnSpc>
              <a:spcBef>
                <a:spcPts val="600"/>
              </a:spcBef>
              <a:spcAft>
                <a:spcPts val="0"/>
              </a:spcAft>
              <a:buFont typeface="Arial" pitchFamily="34" charset="0"/>
              <a:buChar char="−"/>
              <a:defRPr sz="1200">
                <a:solidFill>
                  <a:schemeClr val="tx2"/>
                </a:solidFill>
              </a:defRPr>
            </a:lvl4pPr>
            <a:lvl5pPr marL="890544" indent="-179380">
              <a:lnSpc>
                <a:spcPct val="100000"/>
              </a:lnSpc>
              <a:spcBef>
                <a:spcPts val="600"/>
              </a:spcBef>
              <a:spcAft>
                <a:spcPts val="0"/>
              </a:spcAft>
              <a:buFont typeface="Arial" pitchFamily="34" charset="0"/>
              <a:buChar char="•"/>
              <a:defRPr sz="1200">
                <a:solidFill>
                  <a:schemeClr val="tx2"/>
                </a:solidFill>
              </a:defRPr>
            </a:lvl5pPr>
            <a:lvl6pPr marL="899956" indent="-179992">
              <a:lnSpc>
                <a:spcPct val="100000"/>
              </a:lnSpc>
              <a:spcBef>
                <a:spcPts val="400"/>
              </a:spcBef>
              <a:spcAft>
                <a:spcPts val="0"/>
              </a:spcAft>
              <a:defRPr sz="1200" baseline="0">
                <a:solidFill>
                  <a:schemeClr val="tx1">
                    <a:lumMod val="60000"/>
                    <a:lumOff val="40000"/>
                  </a:schemeClr>
                </a:solidFill>
              </a:defRPr>
            </a:lvl6pPr>
            <a:lvl7pPr marL="1079946" indent="-179992">
              <a:lnSpc>
                <a:spcPct val="100000"/>
              </a:lnSpc>
              <a:spcBef>
                <a:spcPts val="400"/>
              </a:spcBef>
              <a:spcAft>
                <a:spcPts val="0"/>
              </a:spcAft>
              <a:defRPr sz="1200">
                <a:solidFill>
                  <a:schemeClr val="tx1">
                    <a:lumMod val="60000"/>
                    <a:lumOff val="40000"/>
                  </a:schemeClr>
                </a:solidFill>
              </a:defRPr>
            </a:lvl7pPr>
            <a:lvl8pPr marL="1259938" indent="-179992">
              <a:lnSpc>
                <a:spcPct val="100000"/>
              </a:lnSpc>
              <a:spcBef>
                <a:spcPts val="400"/>
              </a:spcBef>
              <a:spcAft>
                <a:spcPts val="0"/>
              </a:spcAft>
              <a:defRPr sz="1200">
                <a:solidFill>
                  <a:schemeClr val="tx1">
                    <a:lumMod val="60000"/>
                    <a:lumOff val="40000"/>
                  </a:schemeClr>
                </a:solidFill>
              </a:defRPr>
            </a:lvl8pPr>
            <a:lvl9pPr marL="1439928" indent="-179992">
              <a:lnSpc>
                <a:spcPct val="100000"/>
              </a:lnSpc>
              <a:spcBef>
                <a:spcPts val="400"/>
              </a:spcBef>
              <a:spcAft>
                <a:spcPts val="0"/>
              </a:spcAft>
              <a:defRPr sz="1200">
                <a:solidFill>
                  <a:schemeClr val="tx1">
                    <a:lumMod val="60000"/>
                    <a:lumOff val="40000"/>
                  </a:schemeClr>
                </a:solidFill>
              </a:defRPr>
            </a:lvl9pPr>
          </a:lstStyle>
          <a:p>
            <a:pPr lvl="0"/>
            <a:r>
              <a:rPr lang="nb-NO" noProof="0" err="1"/>
              <a:t>Click</a:t>
            </a:r>
            <a:r>
              <a:rPr lang="nb-NO" noProof="0"/>
              <a:t> to </a:t>
            </a:r>
            <a:r>
              <a:rPr lang="nb-NO" noProof="0" err="1"/>
              <a:t>edit</a:t>
            </a:r>
            <a:r>
              <a:rPr lang="nb-NO" noProof="0"/>
              <a:t> Master </a:t>
            </a:r>
            <a:r>
              <a:rPr lang="nb-NO" noProof="0" err="1"/>
              <a:t>text</a:t>
            </a:r>
            <a:r>
              <a:rPr lang="nb-NO" noProof="0"/>
              <a:t> styles</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Tree>
    <p:extLst>
      <p:ext uri="{BB962C8B-B14F-4D97-AF65-F5344CB8AC3E}">
        <p14:creationId xmlns:p14="http://schemas.microsoft.com/office/powerpoint/2010/main" val="8942677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sktside_1 spal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2051"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12" name="Tittel 6"/>
          <p:cNvSpPr>
            <a:spLocks noGrp="1"/>
          </p:cNvSpPr>
          <p:nvPr>
            <p:ph type="title"/>
          </p:nvPr>
        </p:nvSpPr>
        <p:spPr>
          <a:xfrm>
            <a:off x="719405" y="548682"/>
            <a:ext cx="10753195" cy="961813"/>
          </a:xfrm>
          <a:prstGeom prst="rect">
            <a:avLst/>
          </a:prstGeom>
        </p:spPr>
        <p:txBody>
          <a:bodyPr lIns="68580" tIns="34290" rIns="68580" bIns="34290" anchor="ctr" anchorCtr="0"/>
          <a:lstStyle>
            <a:lvl1pPr algn="l">
              <a:spcBef>
                <a:spcPts val="800"/>
              </a:spcBef>
              <a:defRPr sz="3200">
                <a:solidFill>
                  <a:schemeClr val="accent2"/>
                </a:solidFill>
                <a:latin typeface="Segoe UI"/>
                <a:cs typeface="Segoe UI"/>
              </a:defRPr>
            </a:lvl1pPr>
          </a:lstStyle>
          <a:p>
            <a:r>
              <a:rPr lang="nb-NO"/>
              <a:t>Klikk for å redigere tittelstil</a:t>
            </a:r>
          </a:p>
        </p:txBody>
      </p:sp>
      <p:sp>
        <p:nvSpPr>
          <p:cNvPr id="4" name="Content Placeholder 2"/>
          <p:cNvSpPr>
            <a:spLocks noGrp="1"/>
          </p:cNvSpPr>
          <p:nvPr>
            <p:ph idx="1"/>
          </p:nvPr>
        </p:nvSpPr>
        <p:spPr>
          <a:xfrm>
            <a:off x="719405" y="1700808"/>
            <a:ext cx="10753195" cy="4608512"/>
          </a:xfrm>
          <a:prstGeom prst="rect">
            <a:avLst/>
          </a:prstGeom>
        </p:spPr>
        <p:txBody>
          <a:bodyPr wrap="square" lIns="0" tIns="0" rIns="0" bIns="0" anchor="t" anchorCtr="0">
            <a:noAutofit/>
          </a:bodyPr>
          <a:lstStyle>
            <a:lvl1pPr marL="345582" indent="-287986">
              <a:lnSpc>
                <a:spcPct val="100000"/>
              </a:lnSpc>
              <a:spcBef>
                <a:spcPts val="933"/>
              </a:spcBef>
              <a:spcAft>
                <a:spcPts val="0"/>
              </a:spcAft>
              <a:buClr>
                <a:schemeClr val="accent6"/>
              </a:buClr>
              <a:buSzPct val="110000"/>
              <a:buFont typeface="Arial"/>
              <a:buChar char="•"/>
              <a:defRPr sz="2133" baseline="0">
                <a:solidFill>
                  <a:schemeClr val="accent2"/>
                </a:solidFill>
                <a:latin typeface="Segoe UI"/>
              </a:defRPr>
            </a:lvl1pPr>
            <a:lvl2pPr marL="959952" indent="-287986">
              <a:lnSpc>
                <a:spcPct val="100000"/>
              </a:lnSpc>
              <a:spcBef>
                <a:spcPts val="933"/>
              </a:spcBef>
              <a:spcAft>
                <a:spcPts val="0"/>
              </a:spcAft>
              <a:buClr>
                <a:schemeClr val="accent6"/>
              </a:buClr>
              <a:buSzPct val="110000"/>
              <a:buFont typeface="Arial"/>
              <a:buChar char="•"/>
              <a:defRPr sz="1600">
                <a:solidFill>
                  <a:schemeClr val="accent2"/>
                </a:solidFill>
                <a:latin typeface="Segoe UI"/>
              </a:defRPr>
            </a:lvl2pPr>
            <a:lvl3pPr marL="1439928" indent="-287986">
              <a:lnSpc>
                <a:spcPct val="100000"/>
              </a:lnSpc>
              <a:spcBef>
                <a:spcPts val="933"/>
              </a:spcBef>
              <a:spcAft>
                <a:spcPts val="0"/>
              </a:spcAft>
              <a:buClr>
                <a:schemeClr val="accent6"/>
              </a:buClr>
              <a:buSzPct val="110000"/>
              <a:buFont typeface="Arial"/>
              <a:buChar char="•"/>
              <a:tabLst>
                <a:tab pos="1928648" algn="l"/>
              </a:tabLst>
              <a:defRPr sz="1333">
                <a:solidFill>
                  <a:schemeClr val="accent2"/>
                </a:solidFill>
                <a:latin typeface="Segoe UI"/>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3721214319"/>
      </p:ext>
    </p:extLst>
  </p:cSld>
  <p:clrMapOvr>
    <a:masterClrMapping/>
  </p:clrMapOvr>
  <p:transition spd="med" advClick="0">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26023114"/>
              </p:ext>
            </p:extLst>
          </p:nvPr>
        </p:nvGraphicFramePr>
        <p:xfrm>
          <a:off x="1957" y="1593"/>
          <a:ext cx="1953" cy="1587"/>
        </p:xfrm>
        <a:graphic>
          <a:graphicData uri="http://schemas.openxmlformats.org/presentationml/2006/ole">
            <mc:AlternateContent xmlns:mc="http://schemas.openxmlformats.org/markup-compatibility/2006">
              <mc:Choice xmlns:v="urn:schemas-microsoft-com:vml" Requires="v">
                <p:oleObj spid="_x0000_s3075" name="think-cell Slide" r:id="rId5" imgW="473" imgH="470" progId="TCLayout.ActiveDocument.1">
                  <p:embed/>
                </p:oleObj>
              </mc:Choice>
              <mc:Fallback>
                <p:oleObj name="think-cell Slide" r:id="rId5" imgW="473" imgH="470" progId="TCLayout.ActiveDocument.1">
                  <p:embed/>
                  <p:pic>
                    <p:nvPicPr>
                      <p:cNvPr id="4" name="Object 3" hidden="1"/>
                      <p:cNvPicPr/>
                      <p:nvPr/>
                    </p:nvPicPr>
                    <p:blipFill>
                      <a:blip r:embed="rId6"/>
                      <a:stretch>
                        <a:fillRect/>
                      </a:stretch>
                    </p:blipFill>
                    <p:spPr>
                      <a:xfrm>
                        <a:off x="1957" y="1593"/>
                        <a:ext cx="1953" cy="1587"/>
                      </a:xfrm>
                      <a:prstGeom prst="rect">
                        <a:avLst/>
                      </a:prstGeom>
                    </p:spPr>
                  </p:pic>
                </p:oleObj>
              </mc:Fallback>
            </mc:AlternateContent>
          </a:graphicData>
        </a:graphic>
      </p:graphicFrame>
      <p:sp>
        <p:nvSpPr>
          <p:cNvPr id="5" name="Rectangle 4" hidden="1"/>
          <p:cNvSpPr/>
          <p:nvPr userDrawn="1">
            <p:custDataLst>
              <p:tags r:id="rId3"/>
            </p:custDataLst>
          </p:nvPr>
        </p:nvSpPr>
        <p:spPr>
          <a:xfrm>
            <a:off x="1" y="0"/>
            <a:ext cx="195385" cy="158750"/>
          </a:xfrm>
          <a:prstGeom prst="rect">
            <a:avLst/>
          </a:prstGeom>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2000" b="0" i="0" baseline="0" dirty="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8" name="Textplatzhalter 2"/>
          <p:cNvSpPr>
            <a:spLocks noGrp="1"/>
          </p:cNvSpPr>
          <p:nvPr>
            <p:ph type="body" idx="1" hasCustomPrompt="1"/>
          </p:nvPr>
        </p:nvSpPr>
        <p:spPr>
          <a:xfrm>
            <a:off x="511913" y="728666"/>
            <a:ext cx="11168183" cy="601013"/>
          </a:xfrm>
          <a:prstGeom prst="rect">
            <a:avLst/>
          </a:prstGeom>
          <a:noFill/>
        </p:spPr>
        <p:txBody>
          <a:bodyPr anchor="t"/>
          <a:lstStyle>
            <a:lvl1pPr marL="0" marR="0" indent="0" algn="l" defTabSz="1005108" rtl="0" eaLnBrk="1" fontAlgn="auto" latinLnBrk="0" hangingPunct="1">
              <a:lnSpc>
                <a:spcPct val="100000"/>
              </a:lnSpc>
              <a:spcBef>
                <a:spcPts val="0"/>
              </a:spcBef>
              <a:spcAft>
                <a:spcPts val="0"/>
              </a:spcAft>
              <a:buClr>
                <a:schemeClr val="tx2"/>
              </a:buClr>
              <a:buSzTx/>
              <a:buFontTx/>
              <a:buNone/>
              <a:tabLst/>
              <a:defRPr lang="en-GB" sz="2000" b="0" kern="1200" dirty="0" smtClean="0">
                <a:solidFill>
                  <a:srgbClr val="575757"/>
                </a:solidFill>
                <a:latin typeface="+mn-lt"/>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marL="0" lvl="0" indent="0" algn="l" defTabSz="1005108" rtl="0" eaLnBrk="1" latinLnBrk="0" hangingPunct="1">
              <a:lnSpc>
                <a:spcPct val="100000"/>
              </a:lnSpc>
              <a:spcBef>
                <a:spcPts val="0"/>
              </a:spcBef>
              <a:buClr>
                <a:schemeClr val="tx2"/>
              </a:buClr>
              <a:buFontTx/>
              <a:buNone/>
            </a:pPr>
            <a:r>
              <a:rPr lang="en-GB" dirty="0"/>
              <a:t>Click here to enter slide message</a:t>
            </a:r>
          </a:p>
        </p:txBody>
      </p:sp>
      <p:sp>
        <p:nvSpPr>
          <p:cNvPr id="10" name="Rectangle 9"/>
          <p:cNvSpPr/>
          <p:nvPr userDrawn="1"/>
        </p:nvSpPr>
        <p:spPr>
          <a:xfrm>
            <a:off x="253773" y="188264"/>
            <a:ext cx="11717561" cy="6450251"/>
          </a:xfrm>
          <a:prstGeom prst="rect">
            <a:avLst/>
          </a:prstGeom>
          <a:ln w="12700">
            <a:solidFill>
              <a:srgbClr val="FFFFFF"/>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1"/>
            <a:endParaRPr lang="en-GB" sz="1400" dirty="0">
              <a:solidFill>
                <a:prstClr val="black"/>
              </a:solidFill>
            </a:endParaRPr>
          </a:p>
        </p:txBody>
      </p:sp>
    </p:spTree>
    <p:extLst>
      <p:ext uri="{BB962C8B-B14F-4D97-AF65-F5344CB8AC3E}">
        <p14:creationId xmlns:p14="http://schemas.microsoft.com/office/powerpoint/2010/main" val="16053165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
        <p:nvSpPr>
          <p:cNvPr id="5"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4" name="Content Placeholder 3"/>
          <p:cNvSpPr>
            <a:spLocks noGrp="1"/>
          </p:cNvSpPr>
          <p:nvPr>
            <p:ph sz="quarter" idx="10"/>
          </p:nvPr>
        </p:nvSpPr>
        <p:spPr>
          <a:xfrm>
            <a:off x="469901" y="1665291"/>
            <a:ext cx="9348787" cy="4633910"/>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marL="356391" indent="0">
              <a:buNone/>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31485842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Rectangle 10"/>
          <p:cNvSpPr>
            <a:spLocks noGrp="1" noChangeArrowheads="1"/>
          </p:cNvSpPr>
          <p:nvPr>
            <p:ph type="dt" sz="half" idx="10"/>
          </p:nvPr>
        </p:nvSpPr>
        <p:spPr>
          <a:ln/>
        </p:spPr>
        <p:txBody>
          <a:bodyPr/>
          <a:lstStyle>
            <a:lvl1pPr>
              <a:defRPr/>
            </a:lvl1pPr>
          </a:lstStyle>
          <a:p>
            <a:fld id="{A5A1E433-C1A5-42D5-AF9C-C32E1CCAF4D7}" type="datetimeFigureOut">
              <a:rPr lang="en-GB" smtClean="0"/>
              <a:t>13/12/2018</a:t>
            </a:fld>
            <a:endParaRPr lang="en-GB"/>
          </a:p>
        </p:txBody>
      </p:sp>
      <p:sp>
        <p:nvSpPr>
          <p:cNvPr id="5" name="Rectangle 12"/>
          <p:cNvSpPr>
            <a:spLocks noGrp="1" noChangeArrowheads="1"/>
          </p:cNvSpPr>
          <p:nvPr>
            <p:ph type="sldNum" sz="quarter" idx="11"/>
          </p:nvPr>
        </p:nvSpPr>
        <p:spPr>
          <a:ln/>
        </p:spPr>
        <p:txBody>
          <a:bodyPr/>
          <a:lstStyle>
            <a:lvl1pPr>
              <a:defRPr/>
            </a:lvl1pPr>
          </a:lstStyle>
          <a:p>
            <a:fld id="{D48ADBFF-1D56-4531-8DFD-8B6FC0906113}" type="slidenum">
              <a:rPr lang="en-GB" smtClean="0"/>
              <a:t>‹#›</a:t>
            </a:fld>
            <a:endParaRPr lang="en-GB"/>
          </a:p>
        </p:txBody>
      </p:sp>
    </p:spTree>
    <p:extLst>
      <p:ext uri="{BB962C8B-B14F-4D97-AF65-F5344CB8AC3E}">
        <p14:creationId xmlns:p14="http://schemas.microsoft.com/office/powerpoint/2010/main" val="25095900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6"/>
          </a:xfrm>
        </p:spPr>
        <p:txBody>
          <a:bodyPr anchor="t"/>
          <a:lstStyle>
            <a:lvl1pPr algn="l">
              <a:defRPr sz="3200" b="1" cap="all"/>
            </a:lvl1pPr>
          </a:lstStyle>
          <a:p>
            <a:r>
              <a:rPr lang="en-US"/>
              <a:t>Click to edit Master title style</a:t>
            </a:r>
            <a:endParaRPr lang="nb-NO"/>
          </a:p>
        </p:txBody>
      </p:sp>
      <p:sp>
        <p:nvSpPr>
          <p:cNvPr id="3" name="Text Placeholder 2"/>
          <p:cNvSpPr>
            <a:spLocks noGrp="1"/>
          </p:cNvSpPr>
          <p:nvPr>
            <p:ph type="body" idx="1"/>
          </p:nvPr>
        </p:nvSpPr>
        <p:spPr>
          <a:xfrm>
            <a:off x="963084" y="2906715"/>
            <a:ext cx="10363200" cy="1500186"/>
          </a:xfrm>
        </p:spPr>
        <p:txBody>
          <a:bodyPr anchor="b"/>
          <a:lstStyle>
            <a:lvl1pPr marL="0" indent="0">
              <a:buNone/>
              <a:defRPr sz="1600"/>
            </a:lvl1pPr>
            <a:lvl2pPr marL="362925" indent="0">
              <a:buNone/>
              <a:defRPr sz="1400"/>
            </a:lvl2pPr>
            <a:lvl3pPr marL="725851" indent="0">
              <a:buNone/>
              <a:defRPr sz="1300"/>
            </a:lvl3pPr>
            <a:lvl4pPr marL="1088776" indent="0">
              <a:buNone/>
              <a:defRPr sz="1100"/>
            </a:lvl4pPr>
            <a:lvl5pPr marL="1451701" indent="0">
              <a:buNone/>
              <a:defRPr sz="1100"/>
            </a:lvl5pPr>
            <a:lvl6pPr marL="1814627" indent="0">
              <a:buNone/>
              <a:defRPr sz="1100"/>
            </a:lvl6pPr>
            <a:lvl7pPr marL="2177552" indent="0">
              <a:buNone/>
              <a:defRPr sz="1100"/>
            </a:lvl7pPr>
            <a:lvl8pPr marL="2540478" indent="0">
              <a:buNone/>
              <a:defRPr sz="1100"/>
            </a:lvl8pPr>
            <a:lvl9pPr marL="2903403" indent="0">
              <a:buNone/>
              <a:defRPr sz="1100"/>
            </a:lvl9pPr>
          </a:lstStyle>
          <a:p>
            <a:pPr lvl="0"/>
            <a:r>
              <a:rPr lang="en-US"/>
              <a:t>Click to edit Master text styles</a:t>
            </a:r>
          </a:p>
        </p:txBody>
      </p:sp>
      <p:sp>
        <p:nvSpPr>
          <p:cNvPr id="4" name="Rectangle 10"/>
          <p:cNvSpPr>
            <a:spLocks noGrp="1" noChangeArrowheads="1"/>
          </p:cNvSpPr>
          <p:nvPr>
            <p:ph type="dt" sz="half" idx="10"/>
          </p:nvPr>
        </p:nvSpPr>
        <p:spPr>
          <a:ln/>
        </p:spPr>
        <p:txBody>
          <a:bodyPr/>
          <a:lstStyle>
            <a:lvl1pPr>
              <a:defRPr/>
            </a:lvl1pPr>
          </a:lstStyle>
          <a:p>
            <a:fld id="{A5A1E433-C1A5-42D5-AF9C-C32E1CCAF4D7}" type="datetimeFigureOut">
              <a:rPr lang="en-GB" smtClean="0"/>
              <a:t>13/12/2018</a:t>
            </a:fld>
            <a:endParaRPr lang="en-GB"/>
          </a:p>
        </p:txBody>
      </p:sp>
      <p:sp>
        <p:nvSpPr>
          <p:cNvPr id="5" name="Rectangle 12"/>
          <p:cNvSpPr>
            <a:spLocks noGrp="1" noChangeArrowheads="1"/>
          </p:cNvSpPr>
          <p:nvPr>
            <p:ph type="sldNum" sz="quarter" idx="11"/>
          </p:nvPr>
        </p:nvSpPr>
        <p:spPr>
          <a:ln/>
        </p:spPr>
        <p:txBody>
          <a:bodyPr/>
          <a:lstStyle>
            <a:lvl1pPr>
              <a:defRPr/>
            </a:lvl1pPr>
          </a:lstStyle>
          <a:p>
            <a:fld id="{D48ADBFF-1D56-4531-8DFD-8B6FC0906113}" type="slidenum">
              <a:rPr lang="en-GB" smtClean="0"/>
              <a:t>‹#›</a:t>
            </a:fld>
            <a:endParaRPr lang="en-GB"/>
          </a:p>
        </p:txBody>
      </p:sp>
    </p:spTree>
    <p:extLst>
      <p:ext uri="{BB962C8B-B14F-4D97-AF65-F5344CB8AC3E}">
        <p14:creationId xmlns:p14="http://schemas.microsoft.com/office/powerpoint/2010/main" val="2998830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sz="half" idx="1"/>
          </p:nvPr>
        </p:nvSpPr>
        <p:spPr>
          <a:xfrm>
            <a:off x="1320800" y="1981200"/>
            <a:ext cx="5029200" cy="4114800"/>
          </a:xfrm>
        </p:spPr>
        <p:txBody>
          <a:bodyPr/>
          <a:lstStyle>
            <a:lvl1pPr>
              <a:defRPr sz="2200"/>
            </a:lvl1pPr>
            <a:lvl2pPr>
              <a:defRPr sz="19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Content Placeholder 3"/>
          <p:cNvSpPr>
            <a:spLocks noGrp="1"/>
          </p:cNvSpPr>
          <p:nvPr>
            <p:ph sz="half" idx="2"/>
          </p:nvPr>
        </p:nvSpPr>
        <p:spPr>
          <a:xfrm>
            <a:off x="6553200" y="1981200"/>
            <a:ext cx="5029200" cy="4114800"/>
          </a:xfrm>
        </p:spPr>
        <p:txBody>
          <a:bodyPr/>
          <a:lstStyle>
            <a:lvl1pPr>
              <a:defRPr sz="2200"/>
            </a:lvl1pPr>
            <a:lvl2pPr>
              <a:defRPr sz="19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Rectangle 10"/>
          <p:cNvSpPr>
            <a:spLocks noGrp="1" noChangeArrowheads="1"/>
          </p:cNvSpPr>
          <p:nvPr>
            <p:ph type="dt" sz="half" idx="10"/>
          </p:nvPr>
        </p:nvSpPr>
        <p:spPr>
          <a:ln/>
        </p:spPr>
        <p:txBody>
          <a:bodyPr/>
          <a:lstStyle>
            <a:lvl1pPr>
              <a:defRPr/>
            </a:lvl1pPr>
          </a:lstStyle>
          <a:p>
            <a:fld id="{A5A1E433-C1A5-42D5-AF9C-C32E1CCAF4D7}" type="datetimeFigureOut">
              <a:rPr lang="en-GB" smtClean="0"/>
              <a:t>13/12/2018</a:t>
            </a:fld>
            <a:endParaRPr lang="en-GB"/>
          </a:p>
        </p:txBody>
      </p:sp>
      <p:sp>
        <p:nvSpPr>
          <p:cNvPr id="6" name="Rectangle 12"/>
          <p:cNvSpPr>
            <a:spLocks noGrp="1" noChangeArrowheads="1"/>
          </p:cNvSpPr>
          <p:nvPr>
            <p:ph type="sldNum" sz="quarter" idx="11"/>
          </p:nvPr>
        </p:nvSpPr>
        <p:spPr>
          <a:ln/>
        </p:spPr>
        <p:txBody>
          <a:bodyPr/>
          <a:lstStyle>
            <a:lvl1pPr>
              <a:defRPr/>
            </a:lvl1pPr>
          </a:lstStyle>
          <a:p>
            <a:fld id="{D48ADBFF-1D56-4531-8DFD-8B6FC0906113}" type="slidenum">
              <a:rPr lang="en-GB" smtClean="0"/>
              <a:t>‹#›</a:t>
            </a:fld>
            <a:endParaRPr lang="en-GB"/>
          </a:p>
        </p:txBody>
      </p:sp>
    </p:spTree>
    <p:extLst>
      <p:ext uri="{BB962C8B-B14F-4D97-AF65-F5344CB8AC3E}">
        <p14:creationId xmlns:p14="http://schemas.microsoft.com/office/powerpoint/2010/main" val="3893475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endParaRPr lang="nb-NO"/>
          </a:p>
        </p:txBody>
      </p:sp>
      <p:sp>
        <p:nvSpPr>
          <p:cNvPr id="3" name="Text Placeholder 2"/>
          <p:cNvSpPr>
            <a:spLocks noGrp="1"/>
          </p:cNvSpPr>
          <p:nvPr>
            <p:ph type="body" idx="1"/>
          </p:nvPr>
        </p:nvSpPr>
        <p:spPr>
          <a:xfrm>
            <a:off x="609602" y="1535113"/>
            <a:ext cx="5386917" cy="639762"/>
          </a:xfrm>
        </p:spPr>
        <p:txBody>
          <a:bodyPr anchor="b"/>
          <a:lstStyle>
            <a:lvl1pPr marL="0" indent="0">
              <a:buNone/>
              <a:defRPr sz="1900" b="1"/>
            </a:lvl1pPr>
            <a:lvl2pPr marL="362925" indent="0">
              <a:buNone/>
              <a:defRPr sz="1600" b="1"/>
            </a:lvl2pPr>
            <a:lvl3pPr marL="725851" indent="0">
              <a:buNone/>
              <a:defRPr sz="1400" b="1"/>
            </a:lvl3pPr>
            <a:lvl4pPr marL="1088776" indent="0">
              <a:buNone/>
              <a:defRPr sz="1300" b="1"/>
            </a:lvl4pPr>
            <a:lvl5pPr marL="1451701" indent="0">
              <a:buNone/>
              <a:defRPr sz="1300" b="1"/>
            </a:lvl5pPr>
            <a:lvl6pPr marL="1814627" indent="0">
              <a:buNone/>
              <a:defRPr sz="1300" b="1"/>
            </a:lvl6pPr>
            <a:lvl7pPr marL="2177552" indent="0">
              <a:buNone/>
              <a:defRPr sz="1300" b="1"/>
            </a:lvl7pPr>
            <a:lvl8pPr marL="2540478" indent="0">
              <a:buNone/>
              <a:defRPr sz="1300" b="1"/>
            </a:lvl8pPr>
            <a:lvl9pPr marL="2903403" indent="0">
              <a:buNone/>
              <a:defRPr sz="1300" b="1"/>
            </a:lvl9pPr>
          </a:lstStyle>
          <a:p>
            <a:pPr lvl="0"/>
            <a:r>
              <a:rPr lang="en-US"/>
              <a:t>Click to edit Master text styles</a:t>
            </a:r>
          </a:p>
        </p:txBody>
      </p:sp>
      <p:sp>
        <p:nvSpPr>
          <p:cNvPr id="4" name="Content Placeholder 3"/>
          <p:cNvSpPr>
            <a:spLocks noGrp="1"/>
          </p:cNvSpPr>
          <p:nvPr>
            <p:ph sz="half" idx="2"/>
          </p:nvPr>
        </p:nvSpPr>
        <p:spPr>
          <a:xfrm>
            <a:off x="609602" y="2174876"/>
            <a:ext cx="5386917" cy="3951288"/>
          </a:xfrm>
        </p:spPr>
        <p:txBody>
          <a:bodyPr/>
          <a:lstStyle>
            <a:lvl1pPr>
              <a:defRPr sz="1900"/>
            </a:lvl1pPr>
            <a:lvl2pPr>
              <a:defRPr sz="1600"/>
            </a:lvl2pPr>
            <a:lvl3pPr>
              <a:defRPr sz="1400"/>
            </a:lvl3pPr>
            <a:lvl4pPr>
              <a:defRPr sz="1300"/>
            </a:lvl4pPr>
            <a:lvl5pPr>
              <a:defRPr sz="1300"/>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Text Placeholder 4"/>
          <p:cNvSpPr>
            <a:spLocks noGrp="1"/>
          </p:cNvSpPr>
          <p:nvPr>
            <p:ph type="body" sz="quarter" idx="3"/>
          </p:nvPr>
        </p:nvSpPr>
        <p:spPr>
          <a:xfrm>
            <a:off x="6193372" y="1535113"/>
            <a:ext cx="5389033" cy="639762"/>
          </a:xfrm>
        </p:spPr>
        <p:txBody>
          <a:bodyPr anchor="b"/>
          <a:lstStyle>
            <a:lvl1pPr marL="0" indent="0">
              <a:buNone/>
              <a:defRPr sz="1900" b="1"/>
            </a:lvl1pPr>
            <a:lvl2pPr marL="362925" indent="0">
              <a:buNone/>
              <a:defRPr sz="1600" b="1"/>
            </a:lvl2pPr>
            <a:lvl3pPr marL="725851" indent="0">
              <a:buNone/>
              <a:defRPr sz="1400" b="1"/>
            </a:lvl3pPr>
            <a:lvl4pPr marL="1088776" indent="0">
              <a:buNone/>
              <a:defRPr sz="1300" b="1"/>
            </a:lvl4pPr>
            <a:lvl5pPr marL="1451701" indent="0">
              <a:buNone/>
              <a:defRPr sz="1300" b="1"/>
            </a:lvl5pPr>
            <a:lvl6pPr marL="1814627" indent="0">
              <a:buNone/>
              <a:defRPr sz="1300" b="1"/>
            </a:lvl6pPr>
            <a:lvl7pPr marL="2177552" indent="0">
              <a:buNone/>
              <a:defRPr sz="1300" b="1"/>
            </a:lvl7pPr>
            <a:lvl8pPr marL="2540478" indent="0">
              <a:buNone/>
              <a:defRPr sz="1300" b="1"/>
            </a:lvl8pPr>
            <a:lvl9pPr marL="2903403" indent="0">
              <a:buNone/>
              <a:defRPr sz="1300" b="1"/>
            </a:lvl9pPr>
          </a:lstStyle>
          <a:p>
            <a:pPr lvl="0"/>
            <a:r>
              <a:rPr lang="en-US"/>
              <a:t>Click to edit Master text styles</a:t>
            </a:r>
          </a:p>
        </p:txBody>
      </p:sp>
      <p:sp>
        <p:nvSpPr>
          <p:cNvPr id="6" name="Content Placeholder 5"/>
          <p:cNvSpPr>
            <a:spLocks noGrp="1"/>
          </p:cNvSpPr>
          <p:nvPr>
            <p:ph sz="quarter" idx="4"/>
          </p:nvPr>
        </p:nvSpPr>
        <p:spPr>
          <a:xfrm>
            <a:off x="6193372" y="2174876"/>
            <a:ext cx="5389033" cy="3951288"/>
          </a:xfrm>
        </p:spPr>
        <p:txBody>
          <a:bodyPr/>
          <a:lstStyle>
            <a:lvl1pPr>
              <a:defRPr sz="1900"/>
            </a:lvl1pPr>
            <a:lvl2pPr>
              <a:defRPr sz="1600"/>
            </a:lvl2pPr>
            <a:lvl3pPr>
              <a:defRPr sz="1400"/>
            </a:lvl3pPr>
            <a:lvl4pPr>
              <a:defRPr sz="1300"/>
            </a:lvl4pPr>
            <a:lvl5pPr>
              <a:defRPr sz="1300"/>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Rectangle 10"/>
          <p:cNvSpPr>
            <a:spLocks noGrp="1" noChangeArrowheads="1"/>
          </p:cNvSpPr>
          <p:nvPr>
            <p:ph type="dt" sz="half" idx="10"/>
          </p:nvPr>
        </p:nvSpPr>
        <p:spPr>
          <a:ln/>
        </p:spPr>
        <p:txBody>
          <a:bodyPr/>
          <a:lstStyle>
            <a:lvl1pPr>
              <a:defRPr/>
            </a:lvl1pPr>
          </a:lstStyle>
          <a:p>
            <a:fld id="{A5A1E433-C1A5-42D5-AF9C-C32E1CCAF4D7}" type="datetimeFigureOut">
              <a:rPr lang="en-GB" smtClean="0"/>
              <a:t>13/12/2018</a:t>
            </a:fld>
            <a:endParaRPr lang="en-GB"/>
          </a:p>
        </p:txBody>
      </p:sp>
      <p:sp>
        <p:nvSpPr>
          <p:cNvPr id="8" name="Rectangle 12"/>
          <p:cNvSpPr>
            <a:spLocks noGrp="1" noChangeArrowheads="1"/>
          </p:cNvSpPr>
          <p:nvPr>
            <p:ph type="sldNum" sz="quarter" idx="11"/>
          </p:nvPr>
        </p:nvSpPr>
        <p:spPr>
          <a:ln/>
        </p:spPr>
        <p:txBody>
          <a:bodyPr/>
          <a:lstStyle>
            <a:lvl1pPr>
              <a:defRPr/>
            </a:lvl1pPr>
          </a:lstStyle>
          <a:p>
            <a:fld id="{D48ADBFF-1D56-4531-8DFD-8B6FC0906113}" type="slidenum">
              <a:rPr lang="en-GB" smtClean="0"/>
              <a:t>‹#›</a:t>
            </a:fld>
            <a:endParaRPr lang="en-GB"/>
          </a:p>
        </p:txBody>
      </p:sp>
    </p:spTree>
    <p:extLst>
      <p:ext uri="{BB962C8B-B14F-4D97-AF65-F5344CB8AC3E}">
        <p14:creationId xmlns:p14="http://schemas.microsoft.com/office/powerpoint/2010/main" val="35136357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Rectangle 10"/>
          <p:cNvSpPr>
            <a:spLocks noGrp="1" noChangeArrowheads="1"/>
          </p:cNvSpPr>
          <p:nvPr>
            <p:ph type="dt" sz="half" idx="10"/>
          </p:nvPr>
        </p:nvSpPr>
        <p:spPr>
          <a:ln/>
        </p:spPr>
        <p:txBody>
          <a:bodyPr/>
          <a:lstStyle>
            <a:lvl1pPr>
              <a:defRPr/>
            </a:lvl1pPr>
          </a:lstStyle>
          <a:p>
            <a:fld id="{A5A1E433-C1A5-42D5-AF9C-C32E1CCAF4D7}" type="datetimeFigureOut">
              <a:rPr lang="en-GB" smtClean="0"/>
              <a:t>13/12/2018</a:t>
            </a:fld>
            <a:endParaRPr lang="en-GB"/>
          </a:p>
        </p:txBody>
      </p:sp>
      <p:sp>
        <p:nvSpPr>
          <p:cNvPr id="4" name="Rectangle 12"/>
          <p:cNvSpPr>
            <a:spLocks noGrp="1" noChangeArrowheads="1"/>
          </p:cNvSpPr>
          <p:nvPr>
            <p:ph type="sldNum" sz="quarter" idx="11"/>
          </p:nvPr>
        </p:nvSpPr>
        <p:spPr>
          <a:ln/>
        </p:spPr>
        <p:txBody>
          <a:bodyPr/>
          <a:lstStyle>
            <a:lvl1pPr>
              <a:defRPr/>
            </a:lvl1pPr>
          </a:lstStyle>
          <a:p>
            <a:fld id="{D48ADBFF-1D56-4531-8DFD-8B6FC0906113}" type="slidenum">
              <a:rPr lang="en-GB" smtClean="0"/>
              <a:t>‹#›</a:t>
            </a:fld>
            <a:endParaRPr lang="en-GB"/>
          </a:p>
        </p:txBody>
      </p:sp>
    </p:spTree>
    <p:extLst>
      <p:ext uri="{BB962C8B-B14F-4D97-AF65-F5344CB8AC3E}">
        <p14:creationId xmlns:p14="http://schemas.microsoft.com/office/powerpoint/2010/main" val="3228824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ln/>
        </p:spPr>
        <p:txBody>
          <a:bodyPr/>
          <a:lstStyle>
            <a:lvl1pPr>
              <a:defRPr/>
            </a:lvl1pPr>
          </a:lstStyle>
          <a:p>
            <a:fld id="{A5A1E433-C1A5-42D5-AF9C-C32E1CCAF4D7}" type="datetimeFigureOut">
              <a:rPr lang="en-GB" smtClean="0"/>
              <a:t>13/12/2018</a:t>
            </a:fld>
            <a:endParaRPr lang="en-GB"/>
          </a:p>
        </p:txBody>
      </p:sp>
      <p:sp>
        <p:nvSpPr>
          <p:cNvPr id="3" name="Rectangle 12"/>
          <p:cNvSpPr>
            <a:spLocks noGrp="1" noChangeArrowheads="1"/>
          </p:cNvSpPr>
          <p:nvPr>
            <p:ph type="sldNum" sz="quarter" idx="11"/>
          </p:nvPr>
        </p:nvSpPr>
        <p:spPr>
          <a:ln/>
        </p:spPr>
        <p:txBody>
          <a:bodyPr/>
          <a:lstStyle>
            <a:lvl1pPr>
              <a:defRPr/>
            </a:lvl1pPr>
          </a:lstStyle>
          <a:p>
            <a:fld id="{D48ADBFF-1D56-4531-8DFD-8B6FC0906113}" type="slidenum">
              <a:rPr lang="en-GB" smtClean="0"/>
              <a:t>‹#›</a:t>
            </a:fld>
            <a:endParaRPr lang="en-GB"/>
          </a:p>
        </p:txBody>
      </p:sp>
    </p:spTree>
    <p:extLst>
      <p:ext uri="{BB962C8B-B14F-4D97-AF65-F5344CB8AC3E}">
        <p14:creationId xmlns:p14="http://schemas.microsoft.com/office/powerpoint/2010/main" val="15928143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0"/>
            <a:ext cx="4011084" cy="1162050"/>
          </a:xfrm>
        </p:spPr>
        <p:txBody>
          <a:bodyPr anchor="b"/>
          <a:lstStyle>
            <a:lvl1pPr algn="l">
              <a:defRPr sz="1600" b="1"/>
            </a:lvl1pPr>
          </a:lstStyle>
          <a:p>
            <a:r>
              <a:rPr lang="en-US"/>
              <a:t>Click to edit Master title style</a:t>
            </a:r>
            <a:endParaRPr lang="nb-NO"/>
          </a:p>
        </p:txBody>
      </p:sp>
      <p:sp>
        <p:nvSpPr>
          <p:cNvPr id="3" name="Content Placeholder 2"/>
          <p:cNvSpPr>
            <a:spLocks noGrp="1"/>
          </p:cNvSpPr>
          <p:nvPr>
            <p:ph idx="1"/>
          </p:nvPr>
        </p:nvSpPr>
        <p:spPr>
          <a:xfrm>
            <a:off x="4766733" y="273052"/>
            <a:ext cx="6815667" cy="5853114"/>
          </a:xfrm>
        </p:spPr>
        <p:txBody>
          <a:bodyPr/>
          <a:lstStyle>
            <a:lvl1pPr>
              <a:defRPr sz="2500"/>
            </a:lvl1pPr>
            <a:lvl2pPr>
              <a:defRPr sz="2200"/>
            </a:lvl2pPr>
            <a:lvl3pPr>
              <a:defRPr sz="19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Text Placeholder 3"/>
          <p:cNvSpPr>
            <a:spLocks noGrp="1"/>
          </p:cNvSpPr>
          <p:nvPr>
            <p:ph type="body" sz="half" idx="2"/>
          </p:nvPr>
        </p:nvSpPr>
        <p:spPr>
          <a:xfrm>
            <a:off x="609605" y="1435102"/>
            <a:ext cx="4011084" cy="4691063"/>
          </a:xfrm>
        </p:spPr>
        <p:txBody>
          <a:bodyPr/>
          <a:lstStyle>
            <a:lvl1pPr marL="0" indent="0">
              <a:buNone/>
              <a:defRPr sz="1100"/>
            </a:lvl1pPr>
            <a:lvl2pPr marL="362925" indent="0">
              <a:buNone/>
              <a:defRPr sz="1000"/>
            </a:lvl2pPr>
            <a:lvl3pPr marL="725851" indent="0">
              <a:buNone/>
              <a:defRPr sz="800"/>
            </a:lvl3pPr>
            <a:lvl4pPr marL="1088776" indent="0">
              <a:buNone/>
              <a:defRPr sz="700"/>
            </a:lvl4pPr>
            <a:lvl5pPr marL="1451701" indent="0">
              <a:buNone/>
              <a:defRPr sz="700"/>
            </a:lvl5pPr>
            <a:lvl6pPr marL="1814627" indent="0">
              <a:buNone/>
              <a:defRPr sz="700"/>
            </a:lvl6pPr>
            <a:lvl7pPr marL="2177552" indent="0">
              <a:buNone/>
              <a:defRPr sz="700"/>
            </a:lvl7pPr>
            <a:lvl8pPr marL="2540478" indent="0">
              <a:buNone/>
              <a:defRPr sz="700"/>
            </a:lvl8pPr>
            <a:lvl9pPr marL="2903403" indent="0">
              <a:buNone/>
              <a:defRPr sz="700"/>
            </a:lvl9pPr>
          </a:lstStyle>
          <a:p>
            <a:pPr lvl="0"/>
            <a:r>
              <a:rPr lang="en-US"/>
              <a:t>Click to edit Master text styles</a:t>
            </a:r>
          </a:p>
        </p:txBody>
      </p:sp>
      <p:sp>
        <p:nvSpPr>
          <p:cNvPr id="5" name="Rectangle 10"/>
          <p:cNvSpPr>
            <a:spLocks noGrp="1" noChangeArrowheads="1"/>
          </p:cNvSpPr>
          <p:nvPr>
            <p:ph type="dt" sz="half" idx="10"/>
          </p:nvPr>
        </p:nvSpPr>
        <p:spPr>
          <a:ln/>
        </p:spPr>
        <p:txBody>
          <a:bodyPr/>
          <a:lstStyle>
            <a:lvl1pPr>
              <a:defRPr/>
            </a:lvl1pPr>
          </a:lstStyle>
          <a:p>
            <a:fld id="{A5A1E433-C1A5-42D5-AF9C-C32E1CCAF4D7}" type="datetimeFigureOut">
              <a:rPr lang="en-GB" smtClean="0"/>
              <a:t>13/12/2018</a:t>
            </a:fld>
            <a:endParaRPr lang="en-GB"/>
          </a:p>
        </p:txBody>
      </p:sp>
      <p:sp>
        <p:nvSpPr>
          <p:cNvPr id="6" name="Rectangle 12"/>
          <p:cNvSpPr>
            <a:spLocks noGrp="1" noChangeArrowheads="1"/>
          </p:cNvSpPr>
          <p:nvPr>
            <p:ph type="sldNum" sz="quarter" idx="11"/>
          </p:nvPr>
        </p:nvSpPr>
        <p:spPr>
          <a:ln/>
        </p:spPr>
        <p:txBody>
          <a:bodyPr/>
          <a:lstStyle>
            <a:lvl1pPr>
              <a:defRPr/>
            </a:lvl1pPr>
          </a:lstStyle>
          <a:p>
            <a:fld id="{D48ADBFF-1D56-4531-8DFD-8B6FC0906113}" type="slidenum">
              <a:rPr lang="en-GB" smtClean="0"/>
              <a:t>‹#›</a:t>
            </a:fld>
            <a:endParaRPr lang="en-GB"/>
          </a:p>
        </p:txBody>
      </p:sp>
    </p:spTree>
    <p:extLst>
      <p:ext uri="{BB962C8B-B14F-4D97-AF65-F5344CB8AC3E}">
        <p14:creationId xmlns:p14="http://schemas.microsoft.com/office/powerpoint/2010/main" val="33610050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3"/>
            <a:ext cx="7315200" cy="566737"/>
          </a:xfrm>
        </p:spPr>
        <p:txBody>
          <a:bodyPr anchor="b"/>
          <a:lstStyle>
            <a:lvl1pPr algn="l">
              <a:defRPr sz="1600" b="1"/>
            </a:lvl1pPr>
          </a:lstStyle>
          <a:p>
            <a:r>
              <a:rPr lang="en-US"/>
              <a:t>Click to edit Master title style</a:t>
            </a:r>
            <a:endParaRPr lang="nb-NO"/>
          </a:p>
        </p:txBody>
      </p:sp>
      <p:sp>
        <p:nvSpPr>
          <p:cNvPr id="3" name="Picture Placeholder 2"/>
          <p:cNvSpPr>
            <a:spLocks noGrp="1"/>
          </p:cNvSpPr>
          <p:nvPr>
            <p:ph type="pic" idx="1"/>
          </p:nvPr>
        </p:nvSpPr>
        <p:spPr>
          <a:xfrm>
            <a:off x="2389719" y="612775"/>
            <a:ext cx="7315200" cy="4114800"/>
          </a:xfrm>
        </p:spPr>
        <p:txBody>
          <a:bodyPr/>
          <a:lstStyle>
            <a:lvl1pPr marL="0" indent="0">
              <a:buNone/>
              <a:defRPr sz="2500"/>
            </a:lvl1pPr>
            <a:lvl2pPr marL="362925" indent="0">
              <a:buNone/>
              <a:defRPr sz="2200"/>
            </a:lvl2pPr>
            <a:lvl3pPr marL="725851" indent="0">
              <a:buNone/>
              <a:defRPr sz="1900"/>
            </a:lvl3pPr>
            <a:lvl4pPr marL="1088776" indent="0">
              <a:buNone/>
              <a:defRPr sz="1600"/>
            </a:lvl4pPr>
            <a:lvl5pPr marL="1451701" indent="0">
              <a:buNone/>
              <a:defRPr sz="1600"/>
            </a:lvl5pPr>
            <a:lvl6pPr marL="1814627" indent="0">
              <a:buNone/>
              <a:defRPr sz="1600"/>
            </a:lvl6pPr>
            <a:lvl7pPr marL="2177552" indent="0">
              <a:buNone/>
              <a:defRPr sz="1600"/>
            </a:lvl7pPr>
            <a:lvl8pPr marL="2540478" indent="0">
              <a:buNone/>
              <a:defRPr sz="1600"/>
            </a:lvl8pPr>
            <a:lvl9pPr marL="2903403" indent="0">
              <a:buNone/>
              <a:defRPr sz="1600"/>
            </a:lvl9pPr>
          </a:lstStyle>
          <a:p>
            <a:pPr lvl="0"/>
            <a:r>
              <a:rPr lang="en-US" noProof="0"/>
              <a:t>Click icon to add picture</a:t>
            </a:r>
            <a:endParaRPr lang="nb-NO" noProof="0"/>
          </a:p>
        </p:txBody>
      </p:sp>
      <p:sp>
        <p:nvSpPr>
          <p:cNvPr id="4" name="Text Placeholder 3"/>
          <p:cNvSpPr>
            <a:spLocks noGrp="1"/>
          </p:cNvSpPr>
          <p:nvPr>
            <p:ph type="body" sz="half" idx="2"/>
          </p:nvPr>
        </p:nvSpPr>
        <p:spPr>
          <a:xfrm>
            <a:off x="2389719" y="5367340"/>
            <a:ext cx="7315200" cy="804863"/>
          </a:xfrm>
        </p:spPr>
        <p:txBody>
          <a:bodyPr/>
          <a:lstStyle>
            <a:lvl1pPr marL="0" indent="0">
              <a:buNone/>
              <a:defRPr sz="1100"/>
            </a:lvl1pPr>
            <a:lvl2pPr marL="362925" indent="0">
              <a:buNone/>
              <a:defRPr sz="1000"/>
            </a:lvl2pPr>
            <a:lvl3pPr marL="725851" indent="0">
              <a:buNone/>
              <a:defRPr sz="800"/>
            </a:lvl3pPr>
            <a:lvl4pPr marL="1088776" indent="0">
              <a:buNone/>
              <a:defRPr sz="700"/>
            </a:lvl4pPr>
            <a:lvl5pPr marL="1451701" indent="0">
              <a:buNone/>
              <a:defRPr sz="700"/>
            </a:lvl5pPr>
            <a:lvl6pPr marL="1814627" indent="0">
              <a:buNone/>
              <a:defRPr sz="700"/>
            </a:lvl6pPr>
            <a:lvl7pPr marL="2177552" indent="0">
              <a:buNone/>
              <a:defRPr sz="700"/>
            </a:lvl7pPr>
            <a:lvl8pPr marL="2540478" indent="0">
              <a:buNone/>
              <a:defRPr sz="700"/>
            </a:lvl8pPr>
            <a:lvl9pPr marL="2903403" indent="0">
              <a:buNone/>
              <a:defRPr sz="700"/>
            </a:lvl9pPr>
          </a:lstStyle>
          <a:p>
            <a:pPr lvl="0"/>
            <a:r>
              <a:rPr lang="en-US"/>
              <a:t>Click to edit Master text styles</a:t>
            </a:r>
          </a:p>
        </p:txBody>
      </p:sp>
      <p:sp>
        <p:nvSpPr>
          <p:cNvPr id="5" name="Rectangle 10"/>
          <p:cNvSpPr>
            <a:spLocks noGrp="1" noChangeArrowheads="1"/>
          </p:cNvSpPr>
          <p:nvPr>
            <p:ph type="dt" sz="half" idx="10"/>
          </p:nvPr>
        </p:nvSpPr>
        <p:spPr>
          <a:ln/>
        </p:spPr>
        <p:txBody>
          <a:bodyPr/>
          <a:lstStyle>
            <a:lvl1pPr>
              <a:defRPr/>
            </a:lvl1pPr>
          </a:lstStyle>
          <a:p>
            <a:fld id="{A5A1E433-C1A5-42D5-AF9C-C32E1CCAF4D7}" type="datetimeFigureOut">
              <a:rPr lang="en-GB" smtClean="0"/>
              <a:t>13/12/2018</a:t>
            </a:fld>
            <a:endParaRPr lang="en-GB"/>
          </a:p>
        </p:txBody>
      </p:sp>
      <p:sp>
        <p:nvSpPr>
          <p:cNvPr id="6" name="Rectangle 12"/>
          <p:cNvSpPr>
            <a:spLocks noGrp="1" noChangeArrowheads="1"/>
          </p:cNvSpPr>
          <p:nvPr>
            <p:ph type="sldNum" sz="quarter" idx="11"/>
          </p:nvPr>
        </p:nvSpPr>
        <p:spPr>
          <a:ln/>
        </p:spPr>
        <p:txBody>
          <a:bodyPr/>
          <a:lstStyle>
            <a:lvl1pPr>
              <a:defRPr/>
            </a:lvl1pPr>
          </a:lstStyle>
          <a:p>
            <a:fld id="{D48ADBFF-1D56-4531-8DFD-8B6FC0906113}" type="slidenum">
              <a:rPr lang="en-GB" smtClean="0"/>
              <a:t>‹#›</a:t>
            </a:fld>
            <a:endParaRPr lang="en-GB"/>
          </a:p>
        </p:txBody>
      </p:sp>
    </p:spTree>
    <p:extLst>
      <p:ext uri="{BB962C8B-B14F-4D97-AF65-F5344CB8AC3E}">
        <p14:creationId xmlns:p14="http://schemas.microsoft.com/office/powerpoint/2010/main" val="5389615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7"/>
          <p:cNvSpPr>
            <a:spLocks noGrp="1" noChangeArrowheads="1"/>
          </p:cNvSpPr>
          <p:nvPr>
            <p:ph type="title"/>
          </p:nvPr>
        </p:nvSpPr>
        <p:spPr bwMode="auto">
          <a:xfrm>
            <a:off x="1016002" y="849630"/>
            <a:ext cx="10562167" cy="114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585" tIns="36293" rIns="72585" bIns="36293" numCol="1" anchor="ctr" anchorCtr="0" compatLnSpc="1">
            <a:prstTxWarp prst="textNoShape">
              <a:avLst/>
            </a:prstTxWarp>
          </a:bodyPr>
          <a:lstStyle/>
          <a:p>
            <a:pPr lvl="0"/>
            <a:r>
              <a:rPr lang="en-US" altLang="nb-NO"/>
              <a:t>Click to edit Master title style</a:t>
            </a:r>
          </a:p>
        </p:txBody>
      </p:sp>
      <p:sp>
        <p:nvSpPr>
          <p:cNvPr id="1027" name="Rectangle 8"/>
          <p:cNvSpPr>
            <a:spLocks noGrp="1" noChangeArrowheads="1"/>
          </p:cNvSpPr>
          <p:nvPr>
            <p:ph type="body" idx="1"/>
          </p:nvPr>
        </p:nvSpPr>
        <p:spPr bwMode="auto">
          <a:xfrm>
            <a:off x="1016000" y="1981200"/>
            <a:ext cx="1056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585" tIns="36293" rIns="72585" bIns="36293" numCol="1" anchor="t" anchorCtr="0" compatLnSpc="1">
            <a:prstTxWarp prst="textNoShape">
              <a:avLst/>
            </a:prstTxWarp>
          </a:bodyPr>
          <a:lstStyle/>
          <a:p>
            <a:pPr lvl="0"/>
            <a:r>
              <a:rPr lang="en-US" altLang="nb-NO"/>
              <a:t>Click to edit Master text styles</a:t>
            </a:r>
          </a:p>
          <a:p>
            <a:pPr lvl="1"/>
            <a:r>
              <a:rPr lang="en-US" altLang="nb-NO"/>
              <a:t>Second level</a:t>
            </a:r>
          </a:p>
          <a:p>
            <a:pPr lvl="2"/>
            <a:r>
              <a:rPr lang="en-US" altLang="nb-NO"/>
              <a:t>Third level</a:t>
            </a:r>
          </a:p>
          <a:p>
            <a:pPr lvl="3"/>
            <a:r>
              <a:rPr lang="en-US" altLang="nb-NO"/>
              <a:t>Fourth level</a:t>
            </a:r>
          </a:p>
          <a:p>
            <a:pPr lvl="4"/>
            <a:r>
              <a:rPr lang="en-US" altLang="nb-NO"/>
              <a:t>Fifth level</a:t>
            </a:r>
          </a:p>
        </p:txBody>
      </p:sp>
      <p:sp>
        <p:nvSpPr>
          <p:cNvPr id="1034" name="Rectangle 10"/>
          <p:cNvSpPr>
            <a:spLocks noGrp="1" noChangeArrowheads="1"/>
          </p:cNvSpPr>
          <p:nvPr>
            <p:ph type="dt" sz="half" idx="2"/>
          </p:nvPr>
        </p:nvSpPr>
        <p:spPr bwMode="auto">
          <a:xfrm>
            <a:off x="1016000" y="6400800"/>
            <a:ext cx="2540000" cy="457200"/>
          </a:xfrm>
          <a:prstGeom prst="rect">
            <a:avLst/>
          </a:prstGeom>
          <a:noFill/>
          <a:ln w="9525">
            <a:noFill/>
            <a:miter lim="800000"/>
            <a:headEnd/>
            <a:tailEnd/>
          </a:ln>
        </p:spPr>
        <p:txBody>
          <a:bodyPr vert="horz" wrap="square" lIns="72585" tIns="36293" rIns="72585" bIns="36293" numCol="1" anchor="t" anchorCtr="0" compatLnSpc="1">
            <a:prstTxWarp prst="textNoShape">
              <a:avLst/>
            </a:prstTxWarp>
          </a:bodyPr>
          <a:lstStyle>
            <a:lvl1pPr eaLnBrk="0" hangingPunct="0">
              <a:defRPr sz="700" smtClean="0">
                <a:solidFill>
                  <a:schemeClr val="bg2"/>
                </a:solidFill>
              </a:defRPr>
            </a:lvl1pPr>
          </a:lstStyle>
          <a:p>
            <a:fld id="{A5A1E433-C1A5-42D5-AF9C-C32E1CCAF4D7}" type="datetimeFigureOut">
              <a:rPr lang="en-GB" smtClean="0"/>
              <a:t>13/12/2018</a:t>
            </a:fld>
            <a:endParaRPr lang="en-GB"/>
          </a:p>
        </p:txBody>
      </p:sp>
      <p:sp>
        <p:nvSpPr>
          <p:cNvPr id="1036" name="Rectangle 12"/>
          <p:cNvSpPr>
            <a:spLocks noGrp="1" noChangeArrowheads="1"/>
          </p:cNvSpPr>
          <p:nvPr>
            <p:ph type="sldNum" sz="quarter" idx="4"/>
          </p:nvPr>
        </p:nvSpPr>
        <p:spPr bwMode="auto">
          <a:xfrm>
            <a:off x="10691284" y="6400800"/>
            <a:ext cx="914400" cy="457200"/>
          </a:xfrm>
          <a:prstGeom prst="rect">
            <a:avLst/>
          </a:prstGeom>
          <a:noFill/>
          <a:ln w="9525">
            <a:noFill/>
            <a:miter lim="800000"/>
            <a:headEnd/>
            <a:tailEnd/>
          </a:ln>
        </p:spPr>
        <p:txBody>
          <a:bodyPr vert="horz" wrap="square" lIns="72585" tIns="36293" rIns="72585" bIns="36293" numCol="1" anchor="t" anchorCtr="0" compatLnSpc="1">
            <a:prstTxWarp prst="textNoShape">
              <a:avLst/>
            </a:prstTxWarp>
          </a:bodyPr>
          <a:lstStyle>
            <a:lvl1pPr algn="r" eaLnBrk="0" hangingPunct="0">
              <a:defRPr sz="700" smtClean="0">
                <a:solidFill>
                  <a:schemeClr val="bg2"/>
                </a:solidFill>
              </a:defRPr>
            </a:lvl1pPr>
          </a:lstStyle>
          <a:p>
            <a:fld id="{D48ADBFF-1D56-4531-8DFD-8B6FC0906113}" type="slidenum">
              <a:rPr lang="en-GB" smtClean="0"/>
              <a:t>‹#›</a:t>
            </a:fld>
            <a:endParaRPr lang="en-GB"/>
          </a:p>
        </p:txBody>
      </p:sp>
      <p:pic>
        <p:nvPicPr>
          <p:cNvPr id="1030" name="Picture 6" descr="UiO_A_png.png"/>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50853" y="161926"/>
            <a:ext cx="2948516"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2" r:id="rId10"/>
    <p:sldLayoutId id="2147483674" r:id="rId11"/>
    <p:sldLayoutId id="2147483675" r:id="rId12"/>
    <p:sldLayoutId id="2147483676" r:id="rId13"/>
    <p:sldLayoutId id="2147483677" r:id="rId14"/>
  </p:sldLayoutIdLst>
  <p:txStyles>
    <p:titleStyle>
      <a:lvl1pPr algn="l" rtl="0" eaLnBrk="1" fontAlgn="base" hangingPunct="1">
        <a:spcBef>
          <a:spcPct val="0"/>
        </a:spcBef>
        <a:spcAft>
          <a:spcPct val="0"/>
        </a:spcAft>
        <a:defRPr sz="2500" b="1">
          <a:solidFill>
            <a:schemeClr val="tx2"/>
          </a:solidFill>
          <a:latin typeface="+mj-lt"/>
          <a:ea typeface="+mj-ea"/>
          <a:cs typeface="+mj-cs"/>
        </a:defRPr>
      </a:lvl1pPr>
      <a:lvl2pPr algn="l" rtl="0" eaLnBrk="1" fontAlgn="base" hangingPunct="1">
        <a:spcBef>
          <a:spcPct val="0"/>
        </a:spcBef>
        <a:spcAft>
          <a:spcPct val="0"/>
        </a:spcAft>
        <a:defRPr sz="2500" b="1">
          <a:solidFill>
            <a:schemeClr val="tx2"/>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500" b="1">
          <a:solidFill>
            <a:schemeClr val="tx2"/>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500" b="1">
          <a:solidFill>
            <a:schemeClr val="tx2"/>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500" b="1">
          <a:solidFill>
            <a:schemeClr val="tx2"/>
          </a:solidFill>
          <a:latin typeface="Arial" charset="0"/>
          <a:ea typeface="ヒラギノ角ゴ Pro W3" charset="-128"/>
          <a:cs typeface="ヒラギノ角ゴ Pro W3" charset="-128"/>
        </a:defRPr>
      </a:lvl5pPr>
      <a:lvl6pPr marL="362925" algn="l" rtl="0" eaLnBrk="1" fontAlgn="base" hangingPunct="1">
        <a:spcBef>
          <a:spcPct val="0"/>
        </a:spcBef>
        <a:spcAft>
          <a:spcPct val="0"/>
        </a:spcAft>
        <a:defRPr sz="2500" b="1">
          <a:solidFill>
            <a:schemeClr val="tx2"/>
          </a:solidFill>
          <a:latin typeface="Arial" charset="0"/>
          <a:ea typeface="ヒラギノ角ゴ Pro W3" charset="-128"/>
          <a:cs typeface="ヒラギノ角ゴ Pro W3" charset="-128"/>
        </a:defRPr>
      </a:lvl6pPr>
      <a:lvl7pPr marL="725851" algn="l" rtl="0" eaLnBrk="1" fontAlgn="base" hangingPunct="1">
        <a:spcBef>
          <a:spcPct val="0"/>
        </a:spcBef>
        <a:spcAft>
          <a:spcPct val="0"/>
        </a:spcAft>
        <a:defRPr sz="2500" b="1">
          <a:solidFill>
            <a:schemeClr val="tx2"/>
          </a:solidFill>
          <a:latin typeface="Arial" charset="0"/>
          <a:ea typeface="ヒラギノ角ゴ Pro W3" charset="-128"/>
          <a:cs typeface="ヒラギノ角ゴ Pro W3" charset="-128"/>
        </a:defRPr>
      </a:lvl7pPr>
      <a:lvl8pPr marL="1088776" algn="l" rtl="0" eaLnBrk="1" fontAlgn="base" hangingPunct="1">
        <a:spcBef>
          <a:spcPct val="0"/>
        </a:spcBef>
        <a:spcAft>
          <a:spcPct val="0"/>
        </a:spcAft>
        <a:defRPr sz="2500" b="1">
          <a:solidFill>
            <a:schemeClr val="tx2"/>
          </a:solidFill>
          <a:latin typeface="Arial" charset="0"/>
          <a:ea typeface="ヒラギノ角ゴ Pro W3" charset="-128"/>
          <a:cs typeface="ヒラギノ角ゴ Pro W3" charset="-128"/>
        </a:defRPr>
      </a:lvl8pPr>
      <a:lvl9pPr marL="1451701" algn="l" rtl="0" eaLnBrk="1" fontAlgn="base" hangingPunct="1">
        <a:spcBef>
          <a:spcPct val="0"/>
        </a:spcBef>
        <a:spcAft>
          <a:spcPct val="0"/>
        </a:spcAft>
        <a:defRPr sz="2500" b="1">
          <a:solidFill>
            <a:schemeClr val="tx2"/>
          </a:solidFill>
          <a:latin typeface="Arial" charset="0"/>
          <a:ea typeface="ヒラギノ角ゴ Pro W3" charset="-128"/>
          <a:cs typeface="ヒラギノ角ゴ Pro W3" charset="-128"/>
        </a:defRPr>
      </a:lvl9pPr>
    </p:titleStyle>
    <p:bodyStyle>
      <a:lvl1pPr marL="271463" indent="-271463" algn="l" rtl="0" eaLnBrk="1" fontAlgn="base" hangingPunct="1">
        <a:spcBef>
          <a:spcPct val="20000"/>
        </a:spcBef>
        <a:spcAft>
          <a:spcPct val="0"/>
        </a:spcAft>
        <a:buChar char="•"/>
        <a:defRPr sz="2200">
          <a:solidFill>
            <a:schemeClr val="tx1"/>
          </a:solidFill>
          <a:latin typeface="+mn-lt"/>
          <a:ea typeface="+mn-ea"/>
          <a:cs typeface="+mn-cs"/>
        </a:defRPr>
      </a:lvl1pPr>
      <a:lvl2pPr marL="588963" indent="-225425" algn="l" rtl="0" eaLnBrk="1" fontAlgn="base" hangingPunct="1">
        <a:spcBef>
          <a:spcPct val="20000"/>
        </a:spcBef>
        <a:spcAft>
          <a:spcPct val="0"/>
        </a:spcAft>
        <a:buChar char="–"/>
        <a:defRPr sz="1900">
          <a:solidFill>
            <a:schemeClr val="tx1"/>
          </a:solidFill>
          <a:latin typeface="+mn-lt"/>
          <a:ea typeface="+mn-ea"/>
          <a:cs typeface="+mn-cs"/>
        </a:defRPr>
      </a:lvl2pPr>
      <a:lvl3pPr marL="906463" indent="-180975" algn="l" rtl="0" eaLnBrk="1" fontAlgn="base" hangingPunct="1">
        <a:spcBef>
          <a:spcPct val="20000"/>
        </a:spcBef>
        <a:spcAft>
          <a:spcPct val="0"/>
        </a:spcAft>
        <a:buChar char="•"/>
        <a:defRPr sz="1600">
          <a:solidFill>
            <a:schemeClr val="tx1"/>
          </a:solidFill>
          <a:latin typeface="+mn-lt"/>
          <a:ea typeface="+mn-ea"/>
          <a:cs typeface="+mn-cs"/>
        </a:defRPr>
      </a:lvl3pPr>
      <a:lvl4pPr marL="1270000" indent="-180975" algn="l" rtl="0" eaLnBrk="1" fontAlgn="base" hangingPunct="1">
        <a:spcBef>
          <a:spcPct val="20000"/>
        </a:spcBef>
        <a:spcAft>
          <a:spcPct val="0"/>
        </a:spcAft>
        <a:buChar char="–"/>
        <a:defRPr>
          <a:solidFill>
            <a:schemeClr val="tx1"/>
          </a:solidFill>
          <a:latin typeface="+mn-lt"/>
          <a:ea typeface="+mn-ea"/>
          <a:cs typeface="+mn-cs"/>
        </a:defRPr>
      </a:lvl4pPr>
      <a:lvl5pPr marL="1631950" indent="-180975" algn="l" rtl="0" eaLnBrk="1" fontAlgn="base" hangingPunct="1">
        <a:spcBef>
          <a:spcPct val="20000"/>
        </a:spcBef>
        <a:spcAft>
          <a:spcPct val="0"/>
        </a:spcAft>
        <a:buChar char="»"/>
        <a:defRPr sz="1300">
          <a:solidFill>
            <a:schemeClr val="tx1"/>
          </a:solidFill>
          <a:latin typeface="+mn-lt"/>
          <a:ea typeface="+mn-ea"/>
          <a:cs typeface="+mn-cs"/>
        </a:defRPr>
      </a:lvl5pPr>
      <a:lvl6pPr marL="1996089" indent="-181463" algn="l" rtl="0" eaLnBrk="1" fontAlgn="base" hangingPunct="1">
        <a:spcBef>
          <a:spcPct val="20000"/>
        </a:spcBef>
        <a:spcAft>
          <a:spcPct val="0"/>
        </a:spcAft>
        <a:buChar char="»"/>
        <a:defRPr sz="1300">
          <a:solidFill>
            <a:schemeClr val="tx1"/>
          </a:solidFill>
          <a:latin typeface="+mn-lt"/>
          <a:ea typeface="+mn-ea"/>
          <a:cs typeface="+mn-cs"/>
        </a:defRPr>
      </a:lvl6pPr>
      <a:lvl7pPr marL="2359015" indent="-181463" algn="l" rtl="0" eaLnBrk="1" fontAlgn="base" hangingPunct="1">
        <a:spcBef>
          <a:spcPct val="20000"/>
        </a:spcBef>
        <a:spcAft>
          <a:spcPct val="0"/>
        </a:spcAft>
        <a:buChar char="»"/>
        <a:defRPr sz="1300">
          <a:solidFill>
            <a:schemeClr val="tx1"/>
          </a:solidFill>
          <a:latin typeface="+mn-lt"/>
          <a:ea typeface="+mn-ea"/>
          <a:cs typeface="+mn-cs"/>
        </a:defRPr>
      </a:lvl7pPr>
      <a:lvl8pPr marL="2721940" indent="-181463" algn="l" rtl="0" eaLnBrk="1" fontAlgn="base" hangingPunct="1">
        <a:spcBef>
          <a:spcPct val="20000"/>
        </a:spcBef>
        <a:spcAft>
          <a:spcPct val="0"/>
        </a:spcAft>
        <a:buChar char="»"/>
        <a:defRPr sz="1300">
          <a:solidFill>
            <a:schemeClr val="tx1"/>
          </a:solidFill>
          <a:latin typeface="+mn-lt"/>
          <a:ea typeface="+mn-ea"/>
          <a:cs typeface="+mn-cs"/>
        </a:defRPr>
      </a:lvl8pPr>
      <a:lvl9pPr marL="3084866" indent="-181463" algn="l" rtl="0" eaLnBrk="1" fontAlgn="base" hangingPunct="1">
        <a:spcBef>
          <a:spcPct val="20000"/>
        </a:spcBef>
        <a:spcAft>
          <a:spcPct val="0"/>
        </a:spcAft>
        <a:buChar char="»"/>
        <a:defRPr sz="1300">
          <a:solidFill>
            <a:schemeClr val="tx1"/>
          </a:solidFill>
          <a:latin typeface="+mn-lt"/>
          <a:ea typeface="+mn-ea"/>
          <a:cs typeface="+mn-cs"/>
        </a:defRPr>
      </a:lvl9pPr>
    </p:bodyStyle>
    <p:otherStyle>
      <a:defPPr>
        <a:defRPr lang="nb-NO"/>
      </a:defPPr>
      <a:lvl1pPr marL="0" algn="l" defTabSz="362925" rtl="0" eaLnBrk="1" latinLnBrk="0" hangingPunct="1">
        <a:defRPr sz="1400" kern="1200">
          <a:solidFill>
            <a:schemeClr val="tx1"/>
          </a:solidFill>
          <a:latin typeface="+mn-lt"/>
          <a:ea typeface="+mn-ea"/>
          <a:cs typeface="+mn-cs"/>
        </a:defRPr>
      </a:lvl1pPr>
      <a:lvl2pPr marL="362925" algn="l" defTabSz="362925" rtl="0" eaLnBrk="1" latinLnBrk="0" hangingPunct="1">
        <a:defRPr sz="1400" kern="1200">
          <a:solidFill>
            <a:schemeClr val="tx1"/>
          </a:solidFill>
          <a:latin typeface="+mn-lt"/>
          <a:ea typeface="+mn-ea"/>
          <a:cs typeface="+mn-cs"/>
        </a:defRPr>
      </a:lvl2pPr>
      <a:lvl3pPr marL="725851" algn="l" defTabSz="362925" rtl="0" eaLnBrk="1" latinLnBrk="0" hangingPunct="1">
        <a:defRPr sz="1400" kern="1200">
          <a:solidFill>
            <a:schemeClr val="tx1"/>
          </a:solidFill>
          <a:latin typeface="+mn-lt"/>
          <a:ea typeface="+mn-ea"/>
          <a:cs typeface="+mn-cs"/>
        </a:defRPr>
      </a:lvl3pPr>
      <a:lvl4pPr marL="1088776" algn="l" defTabSz="362925" rtl="0" eaLnBrk="1" latinLnBrk="0" hangingPunct="1">
        <a:defRPr sz="1400" kern="1200">
          <a:solidFill>
            <a:schemeClr val="tx1"/>
          </a:solidFill>
          <a:latin typeface="+mn-lt"/>
          <a:ea typeface="+mn-ea"/>
          <a:cs typeface="+mn-cs"/>
        </a:defRPr>
      </a:lvl4pPr>
      <a:lvl5pPr marL="1451701" algn="l" defTabSz="362925" rtl="0" eaLnBrk="1" latinLnBrk="0" hangingPunct="1">
        <a:defRPr sz="1400" kern="1200">
          <a:solidFill>
            <a:schemeClr val="tx1"/>
          </a:solidFill>
          <a:latin typeface="+mn-lt"/>
          <a:ea typeface="+mn-ea"/>
          <a:cs typeface="+mn-cs"/>
        </a:defRPr>
      </a:lvl5pPr>
      <a:lvl6pPr marL="1814627" algn="l" defTabSz="362925" rtl="0" eaLnBrk="1" latinLnBrk="0" hangingPunct="1">
        <a:defRPr sz="1400" kern="1200">
          <a:solidFill>
            <a:schemeClr val="tx1"/>
          </a:solidFill>
          <a:latin typeface="+mn-lt"/>
          <a:ea typeface="+mn-ea"/>
          <a:cs typeface="+mn-cs"/>
        </a:defRPr>
      </a:lvl6pPr>
      <a:lvl7pPr marL="2177552" algn="l" defTabSz="362925" rtl="0" eaLnBrk="1" latinLnBrk="0" hangingPunct="1">
        <a:defRPr sz="1400" kern="1200">
          <a:solidFill>
            <a:schemeClr val="tx1"/>
          </a:solidFill>
          <a:latin typeface="+mn-lt"/>
          <a:ea typeface="+mn-ea"/>
          <a:cs typeface="+mn-cs"/>
        </a:defRPr>
      </a:lvl7pPr>
      <a:lvl8pPr marL="2540478" algn="l" defTabSz="362925" rtl="0" eaLnBrk="1" latinLnBrk="0" hangingPunct="1">
        <a:defRPr sz="1400" kern="1200">
          <a:solidFill>
            <a:schemeClr val="tx1"/>
          </a:solidFill>
          <a:latin typeface="+mn-lt"/>
          <a:ea typeface="+mn-ea"/>
          <a:cs typeface="+mn-cs"/>
        </a:defRPr>
      </a:lvl8pPr>
      <a:lvl9pPr marL="2903403" algn="l" defTabSz="362925"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xml"/><Relationship Id="rId7" Type="http://schemas.openxmlformats.org/officeDocument/2006/relationships/oleObject" Target="../embeddings/oleObject5.bin"/><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9.png"/><Relationship Id="rId5" Type="http://schemas.openxmlformats.org/officeDocument/2006/relationships/notesSlide" Target="../notesSlides/notesSlide9.xml"/><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hyperlink" Target="https://thenounproject.com/term/star/1088688" TargetMode="External"/><Relationship Id="rId18" Type="http://schemas.openxmlformats.org/officeDocument/2006/relationships/image" Target="../media/image27.png"/><Relationship Id="rId3" Type="http://schemas.openxmlformats.org/officeDocument/2006/relationships/hyperlink" Target="https://thenounproject.com/term/production/1383257" TargetMode="External"/><Relationship Id="rId7" Type="http://schemas.openxmlformats.org/officeDocument/2006/relationships/hyperlink" Target="https://thenounproject.com/term/waiting/390706" TargetMode="External"/><Relationship Id="rId12" Type="http://schemas.openxmlformats.org/officeDocument/2006/relationships/image" Target="../media/image24.png"/><Relationship Id="rId17" Type="http://schemas.openxmlformats.org/officeDocument/2006/relationships/hyperlink" Target="https://thenounproject.com/term/transfer/1973496" TargetMode="External"/><Relationship Id="rId2" Type="http://schemas.openxmlformats.org/officeDocument/2006/relationships/notesSlide" Target="../notesSlides/notesSlide10.xml"/><Relationship Id="rId16" Type="http://schemas.openxmlformats.org/officeDocument/2006/relationships/image" Target="../media/image26.png"/><Relationship Id="rId1" Type="http://schemas.openxmlformats.org/officeDocument/2006/relationships/slideLayout" Target="../slideLayouts/slideLayout7.xml"/><Relationship Id="rId6" Type="http://schemas.openxmlformats.org/officeDocument/2006/relationships/image" Target="../media/image21.png"/><Relationship Id="rId11" Type="http://schemas.openxmlformats.org/officeDocument/2006/relationships/hyperlink" Target="https://thenounproject.com/term/wrong/225891" TargetMode="External"/><Relationship Id="rId5" Type="http://schemas.openxmlformats.org/officeDocument/2006/relationships/hyperlink" Target="https://thenounproject.com/term/cogwheel/1632891" TargetMode="External"/><Relationship Id="rId15" Type="http://schemas.openxmlformats.org/officeDocument/2006/relationships/hyperlink" Target="https://thenounproject.com/term/failure/1958321" TargetMode="External"/><Relationship Id="rId10" Type="http://schemas.openxmlformats.org/officeDocument/2006/relationships/image" Target="../media/image23.png"/><Relationship Id="rId4" Type="http://schemas.openxmlformats.org/officeDocument/2006/relationships/image" Target="../media/image20.png"/><Relationship Id="rId9" Type="http://schemas.openxmlformats.org/officeDocument/2006/relationships/hyperlink" Target="https://thenounproject.com/term/waiting-line/519269" TargetMode="External"/><Relationship Id="rId1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thenounproject.com/term/crossroads/1378608"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5.xml"/><Relationship Id="rId4"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hyperlink" Target="https://thenounproject.com/term/goal/1887836" TargetMode="External"/><Relationship Id="rId13"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hyperlink" Target="https://thenounproject.com/term/process/1057868"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11" Type="http://schemas.openxmlformats.org/officeDocument/2006/relationships/image" Target="../media/image6.png"/><Relationship Id="rId5" Type="http://schemas.openxmlformats.org/officeDocument/2006/relationships/diagramQuickStyle" Target="../diagrams/quickStyle1.xml"/><Relationship Id="rId15" Type="http://schemas.openxmlformats.org/officeDocument/2006/relationships/image" Target="../media/image8.png"/><Relationship Id="rId10" Type="http://schemas.openxmlformats.org/officeDocument/2006/relationships/hyperlink" Target="https://thenounproject.com/term/magnifying-glass/1962479" TargetMode="External"/><Relationship Id="rId4" Type="http://schemas.openxmlformats.org/officeDocument/2006/relationships/diagramLayout" Target="../diagrams/layout1.xml"/><Relationship Id="rId9" Type="http://schemas.openxmlformats.org/officeDocument/2006/relationships/image" Target="../media/image5.png"/><Relationship Id="rId14" Type="http://schemas.openxmlformats.org/officeDocument/2006/relationships/hyperlink" Target="https://thenounproject.com/term/planning/476602"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hyperlink" Target="https://thenounproject.com/term/group/737662" TargetMode="External"/><Relationship Id="rId7" Type="http://schemas.openxmlformats.org/officeDocument/2006/relationships/hyperlink" Target="https://thenounproject.com/term/goal/1133315" TargetMode="Externa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hyperlink" Target="https://thenounproject.com/term/woman/1994906" TargetMode="Externa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hyperlink" Target="https://thenounproject.com/term/vote/1893224" TargetMode="External"/><Relationship Id="rId3" Type="http://schemas.openxmlformats.org/officeDocument/2006/relationships/tags" Target="../tags/tag6.xml"/><Relationship Id="rId7" Type="http://schemas.openxmlformats.org/officeDocument/2006/relationships/image" Target="../media/image3.emf"/><Relationship Id="rId12" Type="http://schemas.openxmlformats.org/officeDocument/2006/relationships/image" Target="../media/image15.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hyperlink" Target="https://thenounproject.com/term/group/1893211" TargetMode="External"/><Relationship Id="rId5" Type="http://schemas.openxmlformats.org/officeDocument/2006/relationships/notesSlide" Target="../notesSlides/notesSlide6.xml"/><Relationship Id="rId10" Type="http://schemas.openxmlformats.org/officeDocument/2006/relationships/image" Target="../media/image14.png"/><Relationship Id="rId4" Type="http://schemas.openxmlformats.org/officeDocument/2006/relationships/slideLayout" Target="../slideLayouts/slideLayout7.xml"/><Relationship Id="rId9" Type="http://schemas.openxmlformats.org/officeDocument/2006/relationships/hyperlink" Target="https://thenounproject.com/term/flag/654978" TargetMode="External"/><Relationship Id="rId14" Type="http://schemas.openxmlformats.org/officeDocument/2006/relationships/image" Target="../media/image1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p:txBody>
          <a:bodyPr/>
          <a:lstStyle/>
          <a:p>
            <a:r>
              <a:rPr lang="nb-NO" sz="4000" dirty="0"/>
              <a:t>Workshop 1</a:t>
            </a:r>
            <a:endParaRPr lang="en-GB" sz="4000" dirty="0"/>
          </a:p>
        </p:txBody>
      </p:sp>
      <p:sp>
        <p:nvSpPr>
          <p:cNvPr id="3" name="Subtitle 2"/>
          <p:cNvSpPr>
            <a:spLocks noGrp="1"/>
          </p:cNvSpPr>
          <p:nvPr>
            <p:ph type="subTitle" sz="quarter" idx="1"/>
          </p:nvPr>
        </p:nvSpPr>
        <p:spPr/>
        <p:txBody>
          <a:bodyPr/>
          <a:lstStyle/>
          <a:p>
            <a:r>
              <a:rPr lang="nb-NO" sz="2400" dirty="0"/>
              <a:t>- Første kartlegging av nåsituasjon</a:t>
            </a:r>
            <a:endParaRPr lang="en-GB" dirty="0"/>
          </a:p>
        </p:txBody>
      </p:sp>
    </p:spTree>
    <p:extLst>
      <p:ext uri="{BB962C8B-B14F-4D97-AF65-F5344CB8AC3E}">
        <p14:creationId xmlns:p14="http://schemas.microsoft.com/office/powerpoint/2010/main" val="2809272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6"/>
          <a:stretch>
            <a:fillRect/>
          </a:stretch>
        </p:blipFill>
        <p:spPr>
          <a:xfrm>
            <a:off x="2655148" y="900227"/>
            <a:ext cx="6161746" cy="5636326"/>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525589" y="2120"/>
          <a:ext cx="1588" cy="2117"/>
        </p:xfrm>
        <a:graphic>
          <a:graphicData uri="http://schemas.openxmlformats.org/presentationml/2006/ole">
            <mc:AlternateContent xmlns:mc="http://schemas.openxmlformats.org/markup-compatibility/2006">
              <mc:Choice xmlns:v="urn:schemas-microsoft-com:vml" Requires="v">
                <p:oleObj spid="_x0000_s5123" name="think-cell Slide" r:id="rId7" imgW="395" imgH="394" progId="TCLayout.ActiveDocument.1">
                  <p:embed/>
                </p:oleObj>
              </mc:Choice>
              <mc:Fallback>
                <p:oleObj name="think-cell Slide" r:id="rId7" imgW="395" imgH="394" progId="TCLayout.ActiveDocument.1">
                  <p:embed/>
                  <p:pic>
                    <p:nvPicPr>
                      <p:cNvPr id="2" name="Object 1" hidden="1"/>
                      <p:cNvPicPr/>
                      <p:nvPr/>
                    </p:nvPicPr>
                    <p:blipFill>
                      <a:blip r:embed="rId8"/>
                      <a:stretch>
                        <a:fillRect/>
                      </a:stretch>
                    </p:blipFill>
                    <p:spPr>
                      <a:xfrm>
                        <a:off x="1525589" y="2120"/>
                        <a:ext cx="1588" cy="2117"/>
                      </a:xfrm>
                      <a:prstGeom prst="rect">
                        <a:avLst/>
                      </a:prstGeom>
                    </p:spPr>
                  </p:pic>
                </p:oleObj>
              </mc:Fallback>
            </mc:AlternateContent>
          </a:graphicData>
        </a:graphic>
      </p:graphicFrame>
      <p:sp>
        <p:nvSpPr>
          <p:cNvPr id="4" name="Rectangle 3" hidden="1"/>
          <p:cNvSpPr/>
          <p:nvPr>
            <p:custDataLst>
              <p:tags r:id="rId3"/>
            </p:custDataLst>
          </p:nvPr>
        </p:nvSpPr>
        <p:spPr bwMode="gray">
          <a:xfrm>
            <a:off x="1524001" y="0"/>
            <a:ext cx="119063" cy="158750"/>
          </a:xfrm>
          <a:prstGeom prst="rect">
            <a:avLst/>
          </a:prstGeom>
          <a:solidFill>
            <a:schemeClr val="accent3"/>
          </a:solidFill>
          <a:ln w="19050" algn="ctr">
            <a:solidFill>
              <a:schemeClr val="accent3"/>
            </a:solidFill>
            <a:miter lim="800000"/>
            <a:headEnd/>
            <a:tailEnd/>
          </a:ln>
        </p:spPr>
        <p:txBody>
          <a:bodyPr wrap="none" lIns="0" tIns="0" rIns="0" bIns="0" rtlCol="0" anchor="ctr"/>
          <a:lstStyle/>
          <a:p>
            <a:pPr algn="ctr">
              <a:spcBef>
                <a:spcPct val="0"/>
              </a:spcBef>
              <a:spcAft>
                <a:spcPct val="0"/>
              </a:spcAft>
              <a:buFont typeface="Arial" pitchFamily="34" charset="0"/>
              <a:buNone/>
            </a:pPr>
            <a:endParaRPr lang="nb-NO" sz="2000" err="1">
              <a:solidFill>
                <a:schemeClr val="bg1"/>
              </a:solidFill>
              <a:latin typeface="Verdana" panose="020B0604030504040204" pitchFamily="34" charset="0"/>
              <a:ea typeface="+mj-ea"/>
              <a:cs typeface="+mj-cs"/>
              <a:sym typeface="Verdana" panose="020B0604030504040204" pitchFamily="34" charset="0"/>
            </a:endParaRPr>
          </a:p>
        </p:txBody>
      </p:sp>
      <p:sp>
        <p:nvSpPr>
          <p:cNvPr id="3" name="Title 2"/>
          <p:cNvSpPr>
            <a:spLocks noGrp="1"/>
          </p:cNvSpPr>
          <p:nvPr>
            <p:ph type="title" idx="4294967295"/>
          </p:nvPr>
        </p:nvSpPr>
        <p:spPr>
          <a:xfrm>
            <a:off x="1524000" y="195263"/>
            <a:ext cx="8439150" cy="698500"/>
          </a:xfrm>
        </p:spPr>
        <p:txBody>
          <a:bodyPr/>
          <a:lstStyle/>
          <a:p>
            <a:pPr algn="ctr"/>
            <a:r>
              <a:rPr lang="nb-NO" sz="2800" dirty="0"/>
              <a:t>Prosessoversikt</a:t>
            </a:r>
          </a:p>
        </p:txBody>
      </p:sp>
      <p:sp>
        <p:nvSpPr>
          <p:cNvPr id="7" name="Right Arrow 6"/>
          <p:cNvSpPr/>
          <p:nvPr/>
        </p:nvSpPr>
        <p:spPr bwMode="gray">
          <a:xfrm>
            <a:off x="1620719" y="4758111"/>
            <a:ext cx="287216" cy="413640"/>
          </a:xfrm>
          <a:prstGeom prst="rightArrow">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err="1">
              <a:solidFill>
                <a:schemeClr val="bg1"/>
              </a:solidFill>
            </a:endParaRPr>
          </a:p>
        </p:txBody>
      </p:sp>
    </p:spTree>
    <p:extLst>
      <p:ext uri="{BB962C8B-B14F-4D97-AF65-F5344CB8AC3E}">
        <p14:creationId xmlns:p14="http://schemas.microsoft.com/office/powerpoint/2010/main" val="361883649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987403" y="2590799"/>
            <a:ext cx="1363174" cy="3265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nb-NO" sz="1200" b="1" dirty="0">
                <a:latin typeface="Arial" charset="0"/>
                <a:ea typeface="ヒラギノ角ゴ Pro W3" charset="-128"/>
                <a:cs typeface="ヒラギノ角ゴ Pro W3" charset="-128"/>
              </a:rPr>
              <a:t>Overproduksjon</a:t>
            </a:r>
            <a:endParaRPr lang="en-GB" sz="1200" b="1" dirty="0">
              <a:latin typeface="Arial" charset="0"/>
              <a:ea typeface="ヒラギノ角ゴ Pro W3" charset="-128"/>
              <a:cs typeface="ヒラギノ角ゴ Pro W3" charset="-128"/>
            </a:endParaRPr>
          </a:p>
        </p:txBody>
      </p:sp>
      <p:sp>
        <p:nvSpPr>
          <p:cNvPr id="14" name="Rectangle 13"/>
          <p:cNvSpPr/>
          <p:nvPr/>
        </p:nvSpPr>
        <p:spPr bwMode="auto">
          <a:xfrm>
            <a:off x="4310275" y="2590799"/>
            <a:ext cx="1293411" cy="3265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nb-NO" sz="1200" b="1" dirty="0">
                <a:latin typeface="Arial" charset="0"/>
                <a:ea typeface="ヒラギノ角ゴ Pro W3" charset="-128"/>
                <a:cs typeface="ヒラギノ角ゴ Pro W3" charset="-128"/>
              </a:rPr>
              <a:t>Dobbeltarbeid</a:t>
            </a:r>
            <a:endParaRPr lang="en-GB" sz="1200" b="1" dirty="0">
              <a:latin typeface="Arial" charset="0"/>
              <a:ea typeface="ヒラギノ角ゴ Pro W3" charset="-128"/>
              <a:cs typeface="ヒラギノ角ゴ Pro W3" charset="-128"/>
            </a:endParaRPr>
          </a:p>
        </p:txBody>
      </p:sp>
      <p:sp>
        <p:nvSpPr>
          <p:cNvPr id="15" name="Rectangle 14"/>
          <p:cNvSpPr/>
          <p:nvPr/>
        </p:nvSpPr>
        <p:spPr bwMode="auto">
          <a:xfrm>
            <a:off x="6237515" y="2590799"/>
            <a:ext cx="1709057" cy="3265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nb-NO" sz="1200" b="1" dirty="0">
                <a:latin typeface="Arial" charset="0"/>
                <a:ea typeface="ヒラギノ角ゴ Pro W3" charset="-128"/>
                <a:cs typeface="ヒラギノ角ゴ Pro W3" charset="-128"/>
              </a:rPr>
              <a:t>Unødig overlevering</a:t>
            </a:r>
            <a:endParaRPr lang="en-GB" sz="1200" b="1" dirty="0">
              <a:latin typeface="Arial" charset="0"/>
              <a:ea typeface="ヒラギノ角ゴ Pro W3" charset="-128"/>
              <a:cs typeface="ヒラギノ角ゴ Pro W3" charset="-128"/>
            </a:endParaRPr>
          </a:p>
        </p:txBody>
      </p:sp>
      <p:sp>
        <p:nvSpPr>
          <p:cNvPr id="16" name="Rectangle 15"/>
          <p:cNvSpPr/>
          <p:nvPr/>
        </p:nvSpPr>
        <p:spPr bwMode="auto">
          <a:xfrm>
            <a:off x="8369652" y="2590799"/>
            <a:ext cx="1709057" cy="3265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nb-NO" sz="1200" b="1" dirty="0">
                <a:latin typeface="Arial" charset="0"/>
                <a:ea typeface="ヒラギノ角ゴ Pro W3" charset="-128"/>
                <a:cs typeface="ヒラギノ角ゴ Pro W3" charset="-128"/>
              </a:rPr>
              <a:t>Avbrytelser</a:t>
            </a:r>
            <a:endParaRPr lang="en-GB" sz="1200" b="1" dirty="0">
              <a:latin typeface="Arial" charset="0"/>
              <a:ea typeface="ヒラギノ角ゴ Pro W3" charset="-128"/>
              <a:cs typeface="ヒラギノ角ゴ Pro W3" charset="-128"/>
            </a:endParaRPr>
          </a:p>
        </p:txBody>
      </p:sp>
      <p:sp>
        <p:nvSpPr>
          <p:cNvPr id="17" name="Rectangle 16"/>
          <p:cNvSpPr/>
          <p:nvPr/>
        </p:nvSpPr>
        <p:spPr bwMode="auto">
          <a:xfrm>
            <a:off x="2185405" y="5646192"/>
            <a:ext cx="1287208" cy="3265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nb-NO" sz="1200" b="1" dirty="0">
                <a:latin typeface="Arial" charset="0"/>
                <a:ea typeface="ヒラギノ角ゴ Pro W3" charset="-128"/>
                <a:cs typeface="ヒラギノ角ゴ Pro W3" charset="-128"/>
              </a:rPr>
              <a:t>Venting</a:t>
            </a:r>
            <a:endParaRPr lang="en-GB" sz="1200" b="1" dirty="0">
              <a:latin typeface="Arial" charset="0"/>
              <a:ea typeface="ヒラギノ角ゴ Pro W3" charset="-128"/>
              <a:cs typeface="ヒラギノ角ゴ Pro W3" charset="-128"/>
            </a:endParaRPr>
          </a:p>
        </p:txBody>
      </p:sp>
      <p:sp>
        <p:nvSpPr>
          <p:cNvPr id="18" name="Rectangle 17"/>
          <p:cNvSpPr/>
          <p:nvPr/>
        </p:nvSpPr>
        <p:spPr bwMode="auto">
          <a:xfrm>
            <a:off x="4323301" y="5638886"/>
            <a:ext cx="1287208" cy="3265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nb-NO" sz="1200" b="1" dirty="0">
                <a:latin typeface="Arial" charset="0"/>
                <a:ea typeface="ヒラギノ角ゴ Pro W3" charset="-128"/>
                <a:cs typeface="ヒラギノ角ゴ Pro W3" charset="-128"/>
              </a:rPr>
              <a:t>Køer</a:t>
            </a:r>
            <a:endParaRPr lang="en-GB" sz="1200" b="1" dirty="0">
              <a:latin typeface="Arial" charset="0"/>
              <a:ea typeface="ヒラギノ角ゴ Pro W3" charset="-128"/>
              <a:cs typeface="ヒラギノ角ゴ Pro W3" charset="-128"/>
            </a:endParaRPr>
          </a:p>
        </p:txBody>
      </p:sp>
      <p:sp>
        <p:nvSpPr>
          <p:cNvPr id="19" name="Rectangle 18"/>
          <p:cNvSpPr/>
          <p:nvPr/>
        </p:nvSpPr>
        <p:spPr bwMode="auto">
          <a:xfrm>
            <a:off x="6383798" y="5635401"/>
            <a:ext cx="1474896" cy="32657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nb-NO" sz="1200" b="1" dirty="0">
                <a:latin typeface="Arial" charset="0"/>
                <a:ea typeface="ヒラギノ角ゴ Pro W3" charset="-128"/>
                <a:cs typeface="ヒラギノ角ゴ Pro W3" charset="-128"/>
              </a:rPr>
              <a:t>Feil og omarbeid</a:t>
            </a:r>
            <a:endParaRPr lang="en-GB" sz="1200" b="1" dirty="0">
              <a:latin typeface="Arial" charset="0"/>
              <a:ea typeface="ヒラギノ角ゴ Pro W3" charset="-128"/>
              <a:cs typeface="ヒラギノ角ゴ Pro W3" charset="-128"/>
            </a:endParaRPr>
          </a:p>
        </p:txBody>
      </p:sp>
      <p:sp>
        <p:nvSpPr>
          <p:cNvPr id="20" name="Rectangle 19"/>
          <p:cNvSpPr/>
          <p:nvPr/>
        </p:nvSpPr>
        <p:spPr bwMode="auto">
          <a:xfrm>
            <a:off x="8486731" y="5635577"/>
            <a:ext cx="1474896" cy="43543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nb-NO" sz="1200" b="1" dirty="0">
                <a:latin typeface="Arial" charset="0"/>
                <a:ea typeface="ヒラギノ角ゴ Pro W3" charset="-128"/>
                <a:cs typeface="ヒラギノ角ゴ Pro W3" charset="-128"/>
              </a:rPr>
              <a:t>Ineffektiv bruk av kompetanse</a:t>
            </a:r>
            <a:endParaRPr lang="en-GB" sz="1200" b="1" dirty="0">
              <a:latin typeface="Arial" charset="0"/>
              <a:ea typeface="ヒラギノ角ゴ Pro W3" charset="-128"/>
              <a:cs typeface="ヒラギノ角ゴ Pro W3" charset="-128"/>
            </a:endParaRPr>
          </a:p>
        </p:txBody>
      </p:sp>
      <p:grpSp>
        <p:nvGrpSpPr>
          <p:cNvPr id="2" name="Group 1"/>
          <p:cNvGrpSpPr/>
          <p:nvPr/>
        </p:nvGrpSpPr>
        <p:grpSpPr>
          <a:xfrm>
            <a:off x="1952524" y="923607"/>
            <a:ext cx="1432935" cy="1460365"/>
            <a:chOff x="428523" y="923606"/>
            <a:chExt cx="1432935" cy="1460365"/>
          </a:xfrm>
        </p:grpSpPr>
        <p:sp>
          <p:nvSpPr>
            <p:cNvPr id="5" name="Oval 4"/>
            <p:cNvSpPr/>
            <p:nvPr/>
          </p:nvSpPr>
          <p:spPr bwMode="auto">
            <a:xfrm flipH="1">
              <a:off x="428523" y="923606"/>
              <a:ext cx="1432935" cy="1460365"/>
            </a:xfrm>
            <a:prstGeom prst="ellips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dirty="0">
                <a:latin typeface="Arial" charset="0"/>
                <a:ea typeface="ヒラギノ角ゴ Pro W3" charset="-128"/>
                <a:cs typeface="ヒラギノ角ゴ Pro W3" charset="-128"/>
              </a:endParaRPr>
            </a:p>
          </p:txBody>
        </p:sp>
        <p:pic>
          <p:nvPicPr>
            <p:cNvPr id="81924" name="Picture 4" descr="https://static.thenounproject.com/png/1383257-200.png">
              <a:hlinkClick r:id="rId3" tooltip="production"/>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7441" y="1163065"/>
              <a:ext cx="1015145" cy="1015145"/>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Rectangle 20"/>
          <p:cNvSpPr/>
          <p:nvPr/>
        </p:nvSpPr>
        <p:spPr bwMode="auto">
          <a:xfrm>
            <a:off x="5421086" y="141515"/>
            <a:ext cx="3824076" cy="64225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nb-NO" sz="3200" b="1" dirty="0">
                <a:latin typeface="Arial" charset="0"/>
                <a:ea typeface="ヒラギノ角ゴ Pro W3" charset="-128"/>
                <a:cs typeface="ヒラギノ角ゴ Pro W3" charset="-128"/>
              </a:rPr>
              <a:t>Tidstyver</a:t>
            </a:r>
            <a:endParaRPr lang="en-GB" sz="3200" b="1" dirty="0">
              <a:latin typeface="Arial" charset="0"/>
              <a:ea typeface="ヒラギノ角ゴ Pro W3" charset="-128"/>
              <a:cs typeface="ヒラギノ角ゴ Pro W3" charset="-128"/>
            </a:endParaRPr>
          </a:p>
        </p:txBody>
      </p:sp>
      <p:grpSp>
        <p:nvGrpSpPr>
          <p:cNvPr id="3" name="Group 2"/>
          <p:cNvGrpSpPr/>
          <p:nvPr/>
        </p:nvGrpSpPr>
        <p:grpSpPr>
          <a:xfrm>
            <a:off x="4240514" y="923607"/>
            <a:ext cx="1432935" cy="1460365"/>
            <a:chOff x="2716513" y="923606"/>
            <a:chExt cx="1432935" cy="1460365"/>
          </a:xfrm>
        </p:grpSpPr>
        <p:sp>
          <p:nvSpPr>
            <p:cNvPr id="8" name="Oval 7"/>
            <p:cNvSpPr/>
            <p:nvPr/>
          </p:nvSpPr>
          <p:spPr bwMode="auto">
            <a:xfrm flipH="1">
              <a:off x="2716513" y="923606"/>
              <a:ext cx="1432935" cy="1460365"/>
            </a:xfrm>
            <a:prstGeom prst="ellips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dirty="0">
                <a:latin typeface="Arial" charset="0"/>
                <a:ea typeface="ヒラギノ角ゴ Pro W3" charset="-128"/>
                <a:cs typeface="ヒラギノ角ゴ Pro W3" charset="-128"/>
              </a:endParaRPr>
            </a:p>
          </p:txBody>
        </p:sp>
        <p:pic>
          <p:nvPicPr>
            <p:cNvPr id="81926" name="Picture 6" descr="https://static.thenounproject.com/png/1632891-200.png">
              <a:hlinkClick r:id="rId5" tooltip="cogwheel"/>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9193" y="1162048"/>
              <a:ext cx="1016161" cy="10161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p:cNvGrpSpPr/>
          <p:nvPr/>
        </p:nvGrpSpPr>
        <p:grpSpPr>
          <a:xfrm>
            <a:off x="2104924" y="3982492"/>
            <a:ext cx="1432935" cy="1460365"/>
            <a:chOff x="580923" y="3982491"/>
            <a:chExt cx="1432935" cy="1460365"/>
          </a:xfrm>
        </p:grpSpPr>
        <p:sp>
          <p:nvSpPr>
            <p:cNvPr id="12" name="Oval 11"/>
            <p:cNvSpPr/>
            <p:nvPr/>
          </p:nvSpPr>
          <p:spPr bwMode="auto">
            <a:xfrm flipH="1">
              <a:off x="580923" y="3982491"/>
              <a:ext cx="1432935" cy="1460365"/>
            </a:xfrm>
            <a:prstGeom prst="ellips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dirty="0">
                <a:latin typeface="Arial" charset="0"/>
                <a:ea typeface="ヒラギノ角ゴ Pro W3" charset="-128"/>
                <a:cs typeface="ヒラギノ角ゴ Pro W3" charset="-128"/>
              </a:endParaRPr>
            </a:p>
          </p:txBody>
        </p:sp>
        <p:pic>
          <p:nvPicPr>
            <p:cNvPr id="81928" name="Picture 8" descr="https://static.thenounproject.com/png/390706-200.png">
              <a:hlinkClick r:id="rId7" tooltip="Waiting"/>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9537" y="4148971"/>
              <a:ext cx="1170945" cy="11709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p:cNvGrpSpPr/>
          <p:nvPr/>
        </p:nvGrpSpPr>
        <p:grpSpPr>
          <a:xfrm>
            <a:off x="4240514" y="4004263"/>
            <a:ext cx="1432935" cy="1460365"/>
            <a:chOff x="2716513" y="4004262"/>
            <a:chExt cx="1432935" cy="1460365"/>
          </a:xfrm>
        </p:grpSpPr>
        <p:sp>
          <p:nvSpPr>
            <p:cNvPr id="11" name="Oval 10"/>
            <p:cNvSpPr/>
            <p:nvPr/>
          </p:nvSpPr>
          <p:spPr bwMode="auto">
            <a:xfrm flipH="1">
              <a:off x="2716513" y="4004262"/>
              <a:ext cx="1432935" cy="1460365"/>
            </a:xfrm>
            <a:prstGeom prst="ellips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dirty="0">
                <a:latin typeface="Arial" charset="0"/>
                <a:ea typeface="ヒラギノ角ゴ Pro W3" charset="-128"/>
                <a:cs typeface="ヒラギノ角ゴ Pro W3" charset="-128"/>
              </a:endParaRPr>
            </a:p>
          </p:txBody>
        </p:sp>
        <p:pic>
          <p:nvPicPr>
            <p:cNvPr id="81930" name="Picture 10" descr="https://static.thenounproject.com/png/519269-200.png">
              <a:hlinkClick r:id="rId9" tooltip="Waiting line"/>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809134" y="4109380"/>
              <a:ext cx="1267542" cy="126754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6352340" y="3982491"/>
            <a:ext cx="1432935" cy="1460365"/>
            <a:chOff x="4828339" y="3982490"/>
            <a:chExt cx="1432935" cy="1460365"/>
          </a:xfrm>
        </p:grpSpPr>
        <p:sp>
          <p:nvSpPr>
            <p:cNvPr id="10" name="Oval 9"/>
            <p:cNvSpPr/>
            <p:nvPr/>
          </p:nvSpPr>
          <p:spPr bwMode="auto">
            <a:xfrm flipH="1">
              <a:off x="4828339" y="3982490"/>
              <a:ext cx="1432935" cy="1460365"/>
            </a:xfrm>
            <a:prstGeom prst="ellips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dirty="0">
                <a:latin typeface="Arial" charset="0"/>
                <a:ea typeface="ヒラギノ角ゴ Pro W3" charset="-128"/>
                <a:cs typeface="ヒラギノ角ゴ Pro W3" charset="-128"/>
              </a:endParaRPr>
            </a:p>
          </p:txBody>
        </p:sp>
        <p:pic>
          <p:nvPicPr>
            <p:cNvPr id="81932" name="Picture 12" descr="https://static.thenounproject.com/png/225891-200.png">
              <a:hlinkClick r:id="rId11" tooltip="wrong"/>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76910" y="4236720"/>
              <a:ext cx="964720" cy="9647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p:cNvGrpSpPr/>
          <p:nvPr/>
        </p:nvGrpSpPr>
        <p:grpSpPr>
          <a:xfrm>
            <a:off x="8507714" y="3982490"/>
            <a:ext cx="1432935" cy="1460365"/>
            <a:chOff x="6983713" y="3982489"/>
            <a:chExt cx="1432935" cy="1460365"/>
          </a:xfrm>
        </p:grpSpPr>
        <p:sp>
          <p:nvSpPr>
            <p:cNvPr id="9" name="Oval 8"/>
            <p:cNvSpPr/>
            <p:nvPr/>
          </p:nvSpPr>
          <p:spPr bwMode="auto">
            <a:xfrm flipH="1">
              <a:off x="6983713" y="3982489"/>
              <a:ext cx="1432935" cy="1460365"/>
            </a:xfrm>
            <a:prstGeom prst="ellips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dirty="0">
                <a:latin typeface="Arial" charset="0"/>
                <a:ea typeface="ヒラギノ角ゴ Pro W3" charset="-128"/>
                <a:cs typeface="ヒラギノ角ゴ Pro W3" charset="-128"/>
              </a:endParaRPr>
            </a:p>
          </p:txBody>
        </p:sp>
        <p:pic>
          <p:nvPicPr>
            <p:cNvPr id="81934" name="Picture 14" descr="https://static.thenounproject.com/png/1088688-200.png">
              <a:hlinkClick r:id="rId13" tooltip="Star"/>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202379" y="4220857"/>
              <a:ext cx="1007083" cy="10070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p:cNvGrpSpPr/>
          <p:nvPr/>
        </p:nvGrpSpPr>
        <p:grpSpPr>
          <a:xfrm>
            <a:off x="8507715" y="923606"/>
            <a:ext cx="1432935" cy="1460365"/>
            <a:chOff x="6983714" y="923605"/>
            <a:chExt cx="1432935" cy="1460365"/>
          </a:xfrm>
        </p:grpSpPr>
        <p:sp>
          <p:nvSpPr>
            <p:cNvPr id="13" name="Oval 12"/>
            <p:cNvSpPr/>
            <p:nvPr/>
          </p:nvSpPr>
          <p:spPr bwMode="auto">
            <a:xfrm flipH="1">
              <a:off x="6983714" y="923605"/>
              <a:ext cx="1432935" cy="1460365"/>
            </a:xfrm>
            <a:prstGeom prst="ellips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dirty="0">
                <a:latin typeface="Arial" charset="0"/>
                <a:ea typeface="ヒラギノ角ゴ Pro W3" charset="-128"/>
                <a:cs typeface="ヒラギノ角ゴ Pro W3" charset="-128"/>
              </a:endParaRPr>
            </a:p>
          </p:txBody>
        </p:sp>
        <p:pic>
          <p:nvPicPr>
            <p:cNvPr id="81936" name="Picture 16" descr="https://static.thenounproject.com/png/1958321-200.png">
              <a:hlinkClick r:id="rId15" tooltip="failure"/>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202379" y="1149531"/>
              <a:ext cx="1007083" cy="10070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6404780" y="923607"/>
            <a:ext cx="1432935" cy="1460365"/>
            <a:chOff x="4880779" y="923606"/>
            <a:chExt cx="1432935" cy="1460365"/>
          </a:xfrm>
        </p:grpSpPr>
        <p:sp>
          <p:nvSpPr>
            <p:cNvPr id="7" name="Oval 6"/>
            <p:cNvSpPr/>
            <p:nvPr/>
          </p:nvSpPr>
          <p:spPr bwMode="auto">
            <a:xfrm flipH="1">
              <a:off x="4880779" y="923606"/>
              <a:ext cx="1432935" cy="1460365"/>
            </a:xfrm>
            <a:prstGeom prst="ellips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dirty="0">
                <a:latin typeface="Arial" charset="0"/>
                <a:ea typeface="ヒラギノ角ゴ Pro W3" charset="-128"/>
                <a:cs typeface="ヒラギノ角ゴ Pro W3" charset="-128"/>
              </a:endParaRPr>
            </a:p>
          </p:txBody>
        </p:sp>
        <p:pic>
          <p:nvPicPr>
            <p:cNvPr id="81940" name="Picture 20" descr="https://static.thenounproject.com/png/1973496-200.png">
              <a:hlinkClick r:id="rId17" tooltip="transfer"/>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088341" y="1145424"/>
              <a:ext cx="1023259" cy="102325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527116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994" name="Picture 2"/>
          <p:cNvPicPr>
            <a:picLocks noChangeAspect="1" noChangeArrowheads="1"/>
          </p:cNvPicPr>
          <p:nvPr/>
        </p:nvPicPr>
        <p:blipFill rotWithShape="1">
          <a:blip r:embed="rId3">
            <a:extLst>
              <a:ext uri="{BEBA8EAE-BF5A-486C-A8C5-ECC9F3942E4B}">
                <a14:imgProps xmlns:a14="http://schemas.microsoft.com/office/drawing/2010/main">
                  <a14:imgLayer r:embed="rId4">
                    <a14:imgEffect>
                      <a14:colorTemperature colorTemp="8800"/>
                    </a14:imgEffect>
                  </a14:imgLayer>
                </a14:imgProps>
              </a:ext>
              <a:ext uri="{28A0092B-C50C-407E-A947-70E740481C1C}">
                <a14:useLocalDpi xmlns:a14="http://schemas.microsoft.com/office/drawing/2010/main" val="0"/>
              </a:ext>
            </a:extLst>
          </a:blip>
          <a:srcRect t="4372" r="11492" b="46212"/>
          <a:stretch/>
        </p:blipFill>
        <p:spPr bwMode="auto">
          <a:xfrm>
            <a:off x="1906137" y="4026089"/>
            <a:ext cx="8093122" cy="2060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bwMode="auto">
          <a:xfrm>
            <a:off x="2192740" y="805218"/>
            <a:ext cx="7328848" cy="173326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nb-NO" sz="4400" b="1" dirty="0">
                <a:latin typeface="Arial" charset="0"/>
                <a:ea typeface="ヒラギノ角ゴ Pro W3" charset="-128"/>
                <a:cs typeface="ヒラギノ角ゴ Pro W3" charset="-128"/>
              </a:rPr>
              <a:t>Kartlegging av prosessen</a:t>
            </a:r>
          </a:p>
          <a:p>
            <a:pPr eaLnBrk="0" fontAlgn="base" hangingPunct="0">
              <a:spcBef>
                <a:spcPct val="0"/>
              </a:spcBef>
              <a:spcAft>
                <a:spcPct val="0"/>
              </a:spcAft>
            </a:pPr>
            <a:endParaRPr lang="nb-NO" sz="4400" b="1" dirty="0">
              <a:latin typeface="Arial" charset="0"/>
              <a:ea typeface="ヒラギノ角ゴ Pro W3" charset="-128"/>
              <a:cs typeface="ヒラギノ角ゴ Pro W3" charset="-128"/>
            </a:endParaRPr>
          </a:p>
          <a:p>
            <a:pPr eaLnBrk="0" fontAlgn="base" hangingPunct="0">
              <a:spcBef>
                <a:spcPct val="0"/>
              </a:spcBef>
              <a:spcAft>
                <a:spcPct val="0"/>
              </a:spcAft>
            </a:pPr>
            <a:r>
              <a:rPr lang="nb-NO" sz="2400" b="1" dirty="0">
                <a:latin typeface="Arial" charset="0"/>
                <a:ea typeface="ヒラギノ角ゴ Pro W3" charset="-128"/>
                <a:cs typeface="ヒラギノ角ゴ Pro W3" charset="-128"/>
              </a:rPr>
              <a:t>- Gråpapir og lapper</a:t>
            </a:r>
            <a:endParaRPr lang="en-GB" sz="2400" b="1" dirty="0">
              <a:latin typeface="Arial" charset="0"/>
              <a:ea typeface="ヒラギノ角ゴ Pro W3" charset="-128"/>
              <a:cs typeface="ヒラギノ角ゴ Pro W3" charset="-128"/>
            </a:endParaRPr>
          </a:p>
        </p:txBody>
      </p:sp>
    </p:spTree>
    <p:extLst>
      <p:ext uri="{BB962C8B-B14F-4D97-AF65-F5344CB8AC3E}">
        <p14:creationId xmlns:p14="http://schemas.microsoft.com/office/powerpoint/2010/main" val="86579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nb-NO" dirty="0"/>
              <a:t>Kartlegging – gråpapir med lapper </a:t>
            </a:r>
            <a:endParaRPr lang="en-GB" dirty="0"/>
          </a:p>
        </p:txBody>
      </p:sp>
      <p:sp>
        <p:nvSpPr>
          <p:cNvPr id="6" name="Content Placeholder 5"/>
          <p:cNvSpPr>
            <a:spLocks noGrp="1"/>
          </p:cNvSpPr>
          <p:nvPr>
            <p:ph idx="1"/>
          </p:nvPr>
        </p:nvSpPr>
        <p:spPr/>
        <p:txBody>
          <a:bodyPr/>
          <a:lstStyle/>
          <a:p>
            <a:pPr marL="271145" indent="-271145"/>
            <a:endParaRPr lang="nb-NO" dirty="0">
              <a:cs typeface="Arial"/>
            </a:endParaRPr>
          </a:p>
          <a:p>
            <a:pPr>
              <a:buFontTx/>
              <a:buChar char="-"/>
            </a:pPr>
            <a:r>
              <a:rPr lang="nb-NO" sz="2800" dirty="0">
                <a:cs typeface="Arial"/>
              </a:rPr>
              <a:t>Steg og aktiviteter i prosessen</a:t>
            </a:r>
          </a:p>
          <a:p>
            <a:pPr>
              <a:buFontTx/>
              <a:buChar char="-"/>
            </a:pPr>
            <a:endParaRPr lang="nb-NO" sz="2800" dirty="0">
              <a:cs typeface="Arial"/>
            </a:endParaRPr>
          </a:p>
          <a:p>
            <a:pPr>
              <a:buFontTx/>
              <a:buChar char="-"/>
            </a:pPr>
            <a:r>
              <a:rPr lang="nb-NO" sz="2800" dirty="0">
                <a:cs typeface="Arial"/>
              </a:rPr>
              <a:t>Roller i prosessen</a:t>
            </a:r>
          </a:p>
          <a:p>
            <a:pPr>
              <a:buFontTx/>
              <a:buChar char="-"/>
            </a:pPr>
            <a:endParaRPr lang="nb-NO" sz="2800" dirty="0">
              <a:cs typeface="Arial"/>
            </a:endParaRPr>
          </a:p>
          <a:p>
            <a:pPr>
              <a:buFontTx/>
              <a:buChar char="-"/>
            </a:pPr>
            <a:r>
              <a:rPr lang="nb-NO" sz="2800" dirty="0">
                <a:cs typeface="Arial"/>
              </a:rPr>
              <a:t>Utfordringer i prosessen</a:t>
            </a:r>
            <a:endParaRPr lang="nb-NO" sz="3200" dirty="0">
              <a:cs typeface="Arial"/>
            </a:endParaRPr>
          </a:p>
        </p:txBody>
      </p:sp>
      <p:sp>
        <p:nvSpPr>
          <p:cNvPr id="2" name="Rectangle 1"/>
          <p:cNvSpPr/>
          <p:nvPr/>
        </p:nvSpPr>
        <p:spPr bwMode="auto">
          <a:xfrm>
            <a:off x="7833758" y="2127662"/>
            <a:ext cx="1729838" cy="746165"/>
          </a:xfrm>
          <a:prstGeom prst="rect">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nb-NO" sz="2000" dirty="0">
                <a:latin typeface="Arial" charset="0"/>
                <a:ea typeface="ヒラギノ角ゴ Pro W3" charset="-128"/>
                <a:cs typeface="ヒラギノ角ゴ Pro W3" charset="-128"/>
              </a:rPr>
              <a:t>Gule </a:t>
            </a:r>
            <a:r>
              <a:rPr lang="nb-NO" sz="2000" dirty="0" err="1">
                <a:latin typeface="Arial" charset="0"/>
                <a:ea typeface="ヒラギノ角ゴ Pro W3" charset="-128"/>
                <a:cs typeface="ヒラギノ角ゴ Pro W3" charset="-128"/>
              </a:rPr>
              <a:t>lappper</a:t>
            </a:r>
            <a:endParaRPr lang="en-GB" sz="2000" dirty="0">
              <a:latin typeface="Arial" charset="0"/>
              <a:ea typeface="ヒラギノ角ゴ Pro W3" charset="-128"/>
              <a:cs typeface="ヒラギノ角ゴ Pro W3" charset="-128"/>
            </a:endParaRPr>
          </a:p>
        </p:txBody>
      </p:sp>
      <p:sp>
        <p:nvSpPr>
          <p:cNvPr id="8" name="Rectangle 7"/>
          <p:cNvSpPr/>
          <p:nvPr/>
        </p:nvSpPr>
        <p:spPr bwMode="auto">
          <a:xfrm>
            <a:off x="7895115" y="3304310"/>
            <a:ext cx="1729839" cy="750124"/>
          </a:xfrm>
          <a:prstGeom prst="rect">
            <a:avLst/>
          </a:prstGeom>
          <a:solidFill>
            <a:srgbClr val="00B0F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nb-NO" sz="2000" dirty="0">
                <a:latin typeface="Arial" charset="0"/>
                <a:ea typeface="ヒラギノ角ゴ Pro W3" charset="-128"/>
                <a:cs typeface="ヒラギノ角ゴ Pro W3" charset="-128"/>
              </a:rPr>
              <a:t>Blå lapper</a:t>
            </a:r>
            <a:endParaRPr lang="en-GB" sz="2000" dirty="0">
              <a:latin typeface="Arial" charset="0"/>
              <a:ea typeface="ヒラギノ角ゴ Pro W3" charset="-128"/>
              <a:cs typeface="ヒラギノ角ゴ Pro W3" charset="-128"/>
            </a:endParaRPr>
          </a:p>
        </p:txBody>
      </p:sp>
      <p:sp>
        <p:nvSpPr>
          <p:cNvPr id="10" name="Rectangle 9"/>
          <p:cNvSpPr/>
          <p:nvPr/>
        </p:nvSpPr>
        <p:spPr bwMode="auto">
          <a:xfrm>
            <a:off x="7895114" y="4512622"/>
            <a:ext cx="1773382" cy="724396"/>
          </a:xfrm>
          <a:prstGeom prst="rect">
            <a:avLst/>
          </a:prstGeom>
          <a:solidFill>
            <a:srgbClr val="FF33CC"/>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nb-NO" sz="2000" dirty="0">
                <a:latin typeface="Arial" charset="0"/>
                <a:ea typeface="ヒラギノ角ゴ Pro W3" charset="-128"/>
                <a:cs typeface="ヒラギノ角ゴ Pro W3" charset="-128"/>
              </a:rPr>
              <a:t>Rosa lapper</a:t>
            </a:r>
            <a:endParaRPr lang="en-GB" sz="2000" dirty="0">
              <a:latin typeface="Arial" charset="0"/>
              <a:ea typeface="ヒラギノ角ゴ Pro W3" charset="-128"/>
              <a:cs typeface="ヒラギノ角ゴ Pro W3" charset="-128"/>
            </a:endParaRPr>
          </a:p>
        </p:txBody>
      </p:sp>
    </p:spTree>
    <p:extLst>
      <p:ext uri="{BB962C8B-B14F-4D97-AF65-F5344CB8AC3E}">
        <p14:creationId xmlns:p14="http://schemas.microsoft.com/office/powerpoint/2010/main" val="39032965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970387A-B7E4-4F92-A919-A5E86AF9D223}"/>
              </a:ext>
            </a:extLst>
          </p:cNvPr>
          <p:cNvSpPr>
            <a:spLocks noGrp="1"/>
          </p:cNvSpPr>
          <p:nvPr>
            <p:ph type="title"/>
          </p:nvPr>
        </p:nvSpPr>
        <p:spPr/>
        <p:txBody>
          <a:bodyPr/>
          <a:lstStyle/>
          <a:p>
            <a:r>
              <a:rPr lang="nb-NO" dirty="0">
                <a:cs typeface="Arial"/>
              </a:rPr>
              <a:t>Mulige spørsmål i kartlegging av prosessen</a:t>
            </a:r>
            <a:endParaRPr lang="nb-NO" dirty="0"/>
          </a:p>
        </p:txBody>
      </p:sp>
      <p:sp>
        <p:nvSpPr>
          <p:cNvPr id="3" name="Plassholder for innhold 2">
            <a:extLst>
              <a:ext uri="{FF2B5EF4-FFF2-40B4-BE49-F238E27FC236}">
                <a16:creationId xmlns:a16="http://schemas.microsoft.com/office/drawing/2014/main" id="{FBF7B80E-D339-4812-9426-EECC7A94DD3C}"/>
              </a:ext>
            </a:extLst>
          </p:cNvPr>
          <p:cNvSpPr>
            <a:spLocks noGrp="1"/>
          </p:cNvSpPr>
          <p:nvPr>
            <p:ph idx="1"/>
          </p:nvPr>
        </p:nvSpPr>
        <p:spPr/>
        <p:txBody>
          <a:bodyPr/>
          <a:lstStyle/>
          <a:p>
            <a:pPr marL="271145" indent="-271145">
              <a:buFontTx/>
              <a:buChar char="-"/>
            </a:pPr>
            <a:r>
              <a:rPr lang="nb-NO" sz="2000" dirty="0">
                <a:cs typeface="Arial"/>
              </a:rPr>
              <a:t>Når starter og slutter prosessen? </a:t>
            </a:r>
            <a:endParaRPr lang="nb-NO" dirty="0"/>
          </a:p>
          <a:p>
            <a:pPr marL="271145" indent="-271145">
              <a:buFontTx/>
              <a:buChar char="-"/>
            </a:pPr>
            <a:r>
              <a:rPr lang="nb-NO" sz="2000" dirty="0">
                <a:cs typeface="Arial"/>
              </a:rPr>
              <a:t>Hva er </a:t>
            </a:r>
            <a:r>
              <a:rPr lang="nb-NO" sz="2000" dirty="0" err="1">
                <a:cs typeface="Arial"/>
              </a:rPr>
              <a:t>hovedstegene</a:t>
            </a:r>
            <a:r>
              <a:rPr lang="nb-NO" sz="2000" dirty="0">
                <a:cs typeface="Arial"/>
              </a:rPr>
              <a:t>?</a:t>
            </a:r>
          </a:p>
          <a:p>
            <a:pPr marL="271145" indent="-271145">
              <a:buFontTx/>
              <a:buChar char="-"/>
            </a:pPr>
            <a:r>
              <a:rPr lang="nb-NO" sz="2000" dirty="0">
                <a:cs typeface="Arial"/>
              </a:rPr>
              <a:t>Hvilke roller er involvert? </a:t>
            </a:r>
          </a:p>
          <a:p>
            <a:pPr marL="271145" indent="-271145">
              <a:buFontTx/>
              <a:buChar char="-"/>
            </a:pPr>
            <a:r>
              <a:rPr lang="nb-NO" sz="2000" dirty="0">
                <a:cs typeface="Arial"/>
              </a:rPr>
              <a:t>Hva er aktiviteter under </a:t>
            </a:r>
            <a:r>
              <a:rPr lang="nb-NO" sz="2000" dirty="0" err="1">
                <a:cs typeface="Arial"/>
              </a:rPr>
              <a:t>hovedstegene</a:t>
            </a:r>
            <a:r>
              <a:rPr lang="nb-NO" sz="2000" dirty="0">
                <a:cs typeface="Arial"/>
              </a:rPr>
              <a:t>? </a:t>
            </a:r>
          </a:p>
          <a:p>
            <a:pPr marL="271145" indent="-271145">
              <a:buFontTx/>
              <a:buChar char="-"/>
            </a:pPr>
            <a:r>
              <a:rPr lang="nb-NO" sz="2000" dirty="0">
                <a:cs typeface="Arial"/>
              </a:rPr>
              <a:t>Hvilke utfordringer og flaskehalser opplever dere i prosessen? </a:t>
            </a:r>
            <a:endParaRPr lang="nb-NO" dirty="0">
              <a:cs typeface="Arial"/>
            </a:endParaRPr>
          </a:p>
          <a:p>
            <a:pPr marL="271145" indent="-271145">
              <a:buFontTx/>
              <a:buChar char="-"/>
            </a:pPr>
            <a:r>
              <a:rPr lang="nb-NO" sz="2000" dirty="0">
                <a:cs typeface="Arial"/>
              </a:rPr>
              <a:t>Hva er styrken i dagens prosess?</a:t>
            </a:r>
          </a:p>
          <a:p>
            <a:pPr marL="271145" indent="-271145">
              <a:buFontTx/>
              <a:buChar char="-"/>
            </a:pPr>
            <a:r>
              <a:rPr lang="nb-NO" sz="2000" dirty="0">
                <a:cs typeface="Arial"/>
              </a:rPr>
              <a:t>Hvilke rammer påvirker prosessen(UiOs policy, lovgivning, regelverk etc.?</a:t>
            </a:r>
          </a:p>
          <a:p>
            <a:pPr marL="271145" indent="-271145">
              <a:buFontTx/>
              <a:buChar char="-"/>
            </a:pPr>
            <a:endParaRPr lang="nb-NO" sz="2000" dirty="0">
              <a:cs typeface="Arial"/>
            </a:endParaRPr>
          </a:p>
          <a:p>
            <a:pPr marL="271145" indent="-271145">
              <a:buFontTx/>
              <a:buChar char="-"/>
            </a:pPr>
            <a:r>
              <a:rPr lang="nb-NO" sz="2000" i="1" dirty="0">
                <a:solidFill>
                  <a:srgbClr val="FF0000"/>
                </a:solidFill>
                <a:cs typeface="Arial"/>
              </a:rPr>
              <a:t>Sette inn slide fra opplæring med </a:t>
            </a:r>
            <a:r>
              <a:rPr lang="nb-NO" sz="2000" i="1" dirty="0" err="1">
                <a:solidFill>
                  <a:srgbClr val="FF0000"/>
                </a:solidFill>
                <a:cs typeface="Arial"/>
              </a:rPr>
              <a:t>hjelpespøsmål</a:t>
            </a:r>
            <a:r>
              <a:rPr lang="nb-NO" sz="2000" i="1" dirty="0">
                <a:solidFill>
                  <a:srgbClr val="FF0000"/>
                </a:solidFill>
                <a:cs typeface="Arial"/>
              </a:rPr>
              <a:t> til prosessleder - gjøres for alle regiene</a:t>
            </a:r>
          </a:p>
        </p:txBody>
      </p:sp>
    </p:spTree>
    <p:extLst>
      <p:ext uri="{BB962C8B-B14F-4D97-AF65-F5344CB8AC3E}">
        <p14:creationId xmlns:p14="http://schemas.microsoft.com/office/powerpoint/2010/main" val="40050071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9E69E7B-D196-4894-B3B6-4476B237A030}"/>
              </a:ext>
            </a:extLst>
          </p:cNvPr>
          <p:cNvSpPr>
            <a:spLocks noGrp="1"/>
          </p:cNvSpPr>
          <p:nvPr>
            <p:ph type="title"/>
          </p:nvPr>
        </p:nvSpPr>
        <p:spPr/>
        <p:txBody>
          <a:bodyPr/>
          <a:lstStyle/>
          <a:p>
            <a:r>
              <a:rPr lang="nb-NO">
                <a:cs typeface="Arial"/>
              </a:rPr>
              <a:t>Utfordringer</a:t>
            </a:r>
            <a:endParaRPr lang="nb-NO"/>
          </a:p>
        </p:txBody>
      </p:sp>
      <p:sp>
        <p:nvSpPr>
          <p:cNvPr id="3" name="Plassholder for innhold 2">
            <a:extLst>
              <a:ext uri="{FF2B5EF4-FFF2-40B4-BE49-F238E27FC236}">
                <a16:creationId xmlns:a16="http://schemas.microsoft.com/office/drawing/2014/main" id="{8FB7B16E-6DB0-4445-8921-8AA49CA8D979}"/>
              </a:ext>
            </a:extLst>
          </p:cNvPr>
          <p:cNvSpPr>
            <a:spLocks noGrp="1"/>
          </p:cNvSpPr>
          <p:nvPr>
            <p:ph idx="1"/>
          </p:nvPr>
        </p:nvSpPr>
        <p:spPr/>
        <p:txBody>
          <a:bodyPr/>
          <a:lstStyle/>
          <a:p>
            <a:pPr marL="271145" indent="-271145"/>
            <a:endParaRPr lang="nb-NO" dirty="0">
              <a:cs typeface="Arial"/>
            </a:endParaRPr>
          </a:p>
          <a:p>
            <a:pPr marL="0" indent="0">
              <a:buNone/>
            </a:pPr>
            <a:endParaRPr lang="nb-NO" dirty="0">
              <a:cs typeface="Arial"/>
            </a:endParaRPr>
          </a:p>
          <a:p>
            <a:pPr marL="271145" indent="-271145"/>
            <a:r>
              <a:rPr lang="nb-NO" dirty="0">
                <a:cs typeface="Arial"/>
              </a:rPr>
              <a:t>Hvilke utfordringer har vi og hva er det viktigst å gjøre </a:t>
            </a:r>
            <a:r>
              <a:rPr lang="nb-NO">
                <a:cs typeface="Arial"/>
              </a:rPr>
              <a:t>noe med?</a:t>
            </a:r>
            <a:endParaRPr lang="nb-NO" dirty="0">
              <a:cs typeface="Arial"/>
            </a:endParaRPr>
          </a:p>
        </p:txBody>
      </p:sp>
    </p:spTree>
    <p:extLst>
      <p:ext uri="{BB962C8B-B14F-4D97-AF65-F5344CB8AC3E}">
        <p14:creationId xmlns:p14="http://schemas.microsoft.com/office/powerpoint/2010/main" val="4383992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z="4800" dirty="0"/>
              <a:t>Veien videre</a:t>
            </a:r>
            <a:endParaRPr lang="en-GB" sz="4800" dirty="0"/>
          </a:p>
        </p:txBody>
      </p:sp>
      <p:sp>
        <p:nvSpPr>
          <p:cNvPr id="3" name="Content Placeholder 2"/>
          <p:cNvSpPr>
            <a:spLocks noGrp="1"/>
          </p:cNvSpPr>
          <p:nvPr>
            <p:ph idx="1"/>
          </p:nvPr>
        </p:nvSpPr>
        <p:spPr/>
        <p:txBody>
          <a:bodyPr/>
          <a:lstStyle/>
          <a:p>
            <a:r>
              <a:rPr lang="nb-NO" sz="2800" dirty="0"/>
              <a:t>Prosessen tegnes i Visio og sendes til alle</a:t>
            </a:r>
          </a:p>
          <a:p>
            <a:pPr marL="271145" indent="-271145"/>
            <a:endParaRPr lang="nb-NO" sz="2800" dirty="0">
              <a:cs typeface="Arial"/>
            </a:endParaRPr>
          </a:p>
          <a:p>
            <a:pPr marL="271145" indent="-271145"/>
            <a:r>
              <a:rPr lang="nb-NO" sz="2800" dirty="0">
                <a:cs typeface="Arial"/>
              </a:rPr>
              <a:t>Undersøke med referansepersoner/grupper</a:t>
            </a:r>
          </a:p>
          <a:p>
            <a:pPr marL="271145" indent="-271145"/>
            <a:endParaRPr lang="nb-NO" sz="2800" dirty="0"/>
          </a:p>
          <a:p>
            <a:pPr marL="271145" indent="-271145"/>
            <a:r>
              <a:rPr lang="nb-NO" sz="2800" dirty="0"/>
              <a:t>Prosessleder/gruppe sjekker uklarheter</a:t>
            </a:r>
          </a:p>
          <a:p>
            <a:pPr marL="271145" indent="-271145"/>
            <a:endParaRPr lang="nb-NO" sz="2800" dirty="0">
              <a:cs typeface="Arial"/>
            </a:endParaRPr>
          </a:p>
          <a:p>
            <a:pPr marL="271145" indent="-271145"/>
            <a:r>
              <a:rPr lang="nb-NO" sz="2800" dirty="0"/>
              <a:t>Arbeidsgruppen møtes til workshop 2 xxx</a:t>
            </a:r>
            <a:endParaRPr lang="nb-NO" sz="2800" dirty="0">
              <a:cs typeface="Arial"/>
            </a:endParaRPr>
          </a:p>
          <a:p>
            <a:pPr marL="271145" indent="-271145"/>
            <a:endParaRPr lang="nb-NO" dirty="0">
              <a:cs typeface="Arial"/>
            </a:endParaRPr>
          </a:p>
        </p:txBody>
      </p:sp>
      <p:pic>
        <p:nvPicPr>
          <p:cNvPr id="33796" name="Picture 4" descr="https://static.thenounproject.com/png/1378608-200.png">
            <a:hlinkClick r:id="rId3" tooltip="crossroads"/>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52184" y="38100"/>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61385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2B273B2-68ED-481B-A6FC-6EEB71FB7B0D}"/>
              </a:ext>
            </a:extLst>
          </p:cNvPr>
          <p:cNvSpPr>
            <a:spLocks noGrp="1"/>
          </p:cNvSpPr>
          <p:nvPr>
            <p:ph type="title"/>
          </p:nvPr>
        </p:nvSpPr>
        <p:spPr/>
        <p:txBody>
          <a:bodyPr/>
          <a:lstStyle/>
          <a:p>
            <a:r>
              <a:rPr lang="nb-NO" dirty="0">
                <a:cs typeface="Arial"/>
              </a:rPr>
              <a:t>Legg inn mulige verktøy</a:t>
            </a:r>
            <a:endParaRPr lang="nb-NO" dirty="0"/>
          </a:p>
        </p:txBody>
      </p:sp>
      <p:sp>
        <p:nvSpPr>
          <p:cNvPr id="3" name="Plassholder for innhold 2">
            <a:extLst>
              <a:ext uri="{FF2B5EF4-FFF2-40B4-BE49-F238E27FC236}">
                <a16:creationId xmlns:a16="http://schemas.microsoft.com/office/drawing/2014/main" id="{E5C76328-6A5F-4A80-8040-1D416E8962E1}"/>
              </a:ext>
            </a:extLst>
          </p:cNvPr>
          <p:cNvSpPr>
            <a:spLocks noGrp="1"/>
          </p:cNvSpPr>
          <p:nvPr>
            <p:ph idx="1"/>
          </p:nvPr>
        </p:nvSpPr>
        <p:spPr/>
        <p:txBody>
          <a:bodyPr/>
          <a:lstStyle/>
          <a:p>
            <a:pPr marL="271145" indent="-271145"/>
            <a:r>
              <a:rPr lang="nb-NO" dirty="0" err="1">
                <a:cs typeface="Arial"/>
              </a:rPr>
              <a:t>Rotårsaksanalyse</a:t>
            </a:r>
            <a:r>
              <a:rPr lang="nb-NO" dirty="0">
                <a:cs typeface="Arial"/>
              </a:rPr>
              <a:t> – en metode for å kategorisere og gruppere </a:t>
            </a:r>
            <a:r>
              <a:rPr lang="nb-NO" dirty="0" err="1">
                <a:cs typeface="Arial"/>
              </a:rPr>
              <a:t>utfordinger</a:t>
            </a:r>
            <a:r>
              <a:rPr lang="nb-NO" dirty="0">
                <a:cs typeface="Arial"/>
              </a:rPr>
              <a:t> og flaskehalser etter tema</a:t>
            </a:r>
          </a:p>
          <a:p>
            <a:pPr marL="271145" indent="-271145"/>
            <a:r>
              <a:rPr lang="nb-NO" dirty="0">
                <a:cs typeface="Arial"/>
              </a:rPr>
              <a:t>Brukerreiser – en måte å gjennomgå prosesser fra </a:t>
            </a:r>
            <a:r>
              <a:rPr lang="nb-NO">
                <a:cs typeface="Arial"/>
              </a:rPr>
              <a:t>sluttbrukers perspektiv</a:t>
            </a:r>
          </a:p>
          <a:p>
            <a:pPr marL="271145" indent="-271145"/>
            <a:endParaRPr lang="nb-NO" dirty="0">
              <a:cs typeface="Arial"/>
            </a:endParaRPr>
          </a:p>
        </p:txBody>
      </p:sp>
    </p:spTree>
    <p:extLst>
      <p:ext uri="{BB962C8B-B14F-4D97-AF65-F5344CB8AC3E}">
        <p14:creationId xmlns:p14="http://schemas.microsoft.com/office/powerpoint/2010/main" val="10071865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6147" name="think-cell Slide" r:id="rId6" imgW="395" imgH="394" progId="TCLayout.ActiveDocument.1">
                  <p:embed/>
                </p:oleObj>
              </mc:Choice>
              <mc:Fallback>
                <p:oleObj name="think-cell Slide" r:id="rId6" imgW="395" imgH="394" progId="TCLayout.ActiveDocument.1">
                  <p:embed/>
                  <p:pic>
                    <p:nvPicPr>
                      <p:cNvPr id="6" name="Object 5" hidden="1"/>
                      <p:cNvPicPr/>
                      <p:nvPr/>
                    </p:nvPicPr>
                    <p:blipFill>
                      <a:blip r:embed="rId7"/>
                      <a:stretch>
                        <a:fillRect/>
                      </a:stretch>
                    </p:blipFill>
                    <p:spPr>
                      <a:xfrm>
                        <a:off x="1525192" y="858442"/>
                        <a:ext cx="1191" cy="1191"/>
                      </a:xfrm>
                      <a:prstGeom prst="rect">
                        <a:avLst/>
                      </a:prstGeom>
                    </p:spPr>
                  </p:pic>
                </p:oleObj>
              </mc:Fallback>
            </mc:AlternateContent>
          </a:graphicData>
        </a:graphic>
      </p:graphicFrame>
      <p:sp>
        <p:nvSpPr>
          <p:cNvPr id="5" name="Rectangle 4" hidden="1"/>
          <p:cNvSpPr/>
          <p:nvPr>
            <p:custDataLst>
              <p:tags r:id="rId3"/>
            </p:custDataLst>
          </p:nvPr>
        </p:nvSpPr>
        <p:spPr bwMode="gray">
          <a:xfrm>
            <a:off x="1524001" y="857251"/>
            <a:ext cx="119063" cy="119063"/>
          </a:xfrm>
          <a:prstGeom prst="rect">
            <a:avLst/>
          </a:prstGeom>
          <a:solidFill>
            <a:schemeClr val="accent3"/>
          </a:solidFill>
          <a:ln w="19050" algn="ctr">
            <a:solidFill>
              <a:schemeClr val="accent3"/>
            </a:solidFill>
            <a:miter lim="800000"/>
            <a:headEnd/>
            <a:tailEnd/>
          </a:ln>
        </p:spPr>
        <p:txBody>
          <a:bodyPr vert="horz" wrap="none" lIns="0" tIns="0" rIns="0" bIns="0" numCol="1" spcCol="0" rtlCol="0" anchor="ctr" anchorCtr="0">
            <a:noAutofit/>
          </a:bodyPr>
          <a:lstStyle/>
          <a:p>
            <a:pPr algn="ctr">
              <a:spcBef>
                <a:spcPct val="0"/>
              </a:spcBef>
              <a:spcAft>
                <a:spcPct val="0"/>
              </a:spcAft>
              <a:buFont typeface="Arial" pitchFamily="34" charset="0"/>
              <a:buNone/>
            </a:pPr>
            <a:endParaRPr lang="nb-NO" sz="1500" dirty="0" err="1">
              <a:solidFill>
                <a:schemeClr val="bg1"/>
              </a:solidFill>
              <a:latin typeface="Verdana" panose="020B0604030504040204" pitchFamily="34" charset="0"/>
              <a:ea typeface="+mj-ea"/>
              <a:cs typeface="+mj-cs"/>
              <a:sym typeface="Verdana" panose="020B0604030504040204" pitchFamily="34" charset="0"/>
            </a:endParaRPr>
          </a:p>
        </p:txBody>
      </p:sp>
      <p:sp>
        <p:nvSpPr>
          <p:cNvPr id="3" name="Text Placeholder 2"/>
          <p:cNvSpPr>
            <a:spLocks noGrp="1"/>
          </p:cNvSpPr>
          <p:nvPr>
            <p:ph type="body" sz="quarter" idx="13"/>
          </p:nvPr>
        </p:nvSpPr>
        <p:spPr/>
        <p:txBody>
          <a:bodyPr/>
          <a:lstStyle/>
          <a:p>
            <a:r>
              <a:rPr lang="nb-NO" sz="3600" b="1" dirty="0" err="1"/>
              <a:t>Rotårsaksanalyse</a:t>
            </a:r>
            <a:endParaRPr lang="nb-NO" sz="3600" b="1" dirty="0"/>
          </a:p>
        </p:txBody>
      </p:sp>
      <p:cxnSp>
        <p:nvCxnSpPr>
          <p:cNvPr id="8" name="Straight Arrow Connector 7"/>
          <p:cNvCxnSpPr/>
          <p:nvPr/>
        </p:nvCxnSpPr>
        <p:spPr>
          <a:xfrm flipV="1">
            <a:off x="2592568" y="3712092"/>
            <a:ext cx="5980814" cy="0"/>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bwMode="gray">
          <a:xfrm>
            <a:off x="8589332" y="3425013"/>
            <a:ext cx="1578935" cy="579474"/>
          </a:xfrm>
          <a:prstGeom prst="rect">
            <a:avLst/>
          </a:prstGeom>
          <a:solidFill>
            <a:schemeClr val="accent3"/>
          </a:solidFill>
          <a:ln w="19050" algn="ctr">
            <a:solidFill>
              <a:schemeClr val="accent3"/>
            </a:solidFill>
            <a:miter lim="800000"/>
            <a:headEnd/>
            <a:tailEnd/>
          </a:ln>
        </p:spPr>
        <p:txBody>
          <a:bodyPr wrap="square" lIns="66675" tIns="66675" rIns="66675" bIns="66675" rtlCol="0" anchor="ctr"/>
          <a:lstStyle/>
          <a:p>
            <a:pPr algn="ctr">
              <a:lnSpc>
                <a:spcPct val="106000"/>
              </a:lnSpc>
              <a:buFont typeface="Arial" pitchFamily="34" charset="0"/>
              <a:buNone/>
            </a:pPr>
            <a:r>
              <a:rPr lang="nb-NO" sz="900" b="1" dirty="0">
                <a:solidFill>
                  <a:schemeClr val="bg1"/>
                </a:solidFill>
              </a:rPr>
              <a:t>Hvorfor holder vi ikke behandlingsfristen på søknader?</a:t>
            </a:r>
          </a:p>
        </p:txBody>
      </p:sp>
      <p:sp>
        <p:nvSpPr>
          <p:cNvPr id="10" name="Rectangle 9"/>
          <p:cNvSpPr/>
          <p:nvPr/>
        </p:nvSpPr>
        <p:spPr bwMode="gray">
          <a:xfrm>
            <a:off x="2204480" y="4828510"/>
            <a:ext cx="1177556" cy="308911"/>
          </a:xfrm>
          <a:prstGeom prst="rect">
            <a:avLst/>
          </a:prstGeom>
          <a:solidFill>
            <a:srgbClr val="FFC000">
              <a:alpha val="40000"/>
            </a:srgbClr>
          </a:solidFill>
          <a:ln w="19050" algn="ctr">
            <a:noFill/>
            <a:miter lim="800000"/>
            <a:headEnd/>
            <a:tailEnd/>
          </a:ln>
        </p:spPr>
        <p:txBody>
          <a:bodyPr wrap="square" lIns="66675" tIns="66675" rIns="66675" bIns="66675" rtlCol="0" anchor="ctr"/>
          <a:lstStyle/>
          <a:p>
            <a:pPr algn="ctr">
              <a:lnSpc>
                <a:spcPct val="106000"/>
              </a:lnSpc>
              <a:buFont typeface="Arial" pitchFamily="34" charset="0"/>
              <a:buNone/>
            </a:pPr>
            <a:r>
              <a:rPr lang="nb-NO" sz="900" b="1" dirty="0"/>
              <a:t>Arbeidsmiljø</a:t>
            </a:r>
          </a:p>
        </p:txBody>
      </p:sp>
      <p:sp>
        <p:nvSpPr>
          <p:cNvPr id="11" name="Rectangle 10"/>
          <p:cNvSpPr/>
          <p:nvPr/>
        </p:nvSpPr>
        <p:spPr bwMode="gray">
          <a:xfrm>
            <a:off x="5492598" y="2272039"/>
            <a:ext cx="1177556" cy="308911"/>
          </a:xfrm>
          <a:prstGeom prst="rect">
            <a:avLst/>
          </a:prstGeom>
          <a:solidFill>
            <a:srgbClr val="FFC000">
              <a:alpha val="40000"/>
            </a:srgbClr>
          </a:solidFill>
          <a:ln w="19050" algn="ctr">
            <a:noFill/>
            <a:miter lim="800000"/>
            <a:headEnd/>
            <a:tailEnd/>
          </a:ln>
        </p:spPr>
        <p:txBody>
          <a:bodyPr wrap="square" lIns="66675" tIns="66675" rIns="66675" bIns="66675" rtlCol="0" anchor="ctr"/>
          <a:lstStyle/>
          <a:p>
            <a:pPr algn="ctr">
              <a:lnSpc>
                <a:spcPct val="106000"/>
              </a:lnSpc>
              <a:buFont typeface="Arial" pitchFamily="34" charset="0"/>
              <a:buNone/>
            </a:pPr>
            <a:r>
              <a:rPr lang="nb-NO" sz="900" b="1" dirty="0"/>
              <a:t>Teknologi</a:t>
            </a:r>
          </a:p>
        </p:txBody>
      </p:sp>
      <p:sp>
        <p:nvSpPr>
          <p:cNvPr id="12" name="Rectangle 11"/>
          <p:cNvSpPr/>
          <p:nvPr/>
        </p:nvSpPr>
        <p:spPr bwMode="gray">
          <a:xfrm>
            <a:off x="3285013" y="2272039"/>
            <a:ext cx="1177556" cy="308911"/>
          </a:xfrm>
          <a:prstGeom prst="rect">
            <a:avLst/>
          </a:prstGeom>
          <a:solidFill>
            <a:srgbClr val="FFC000">
              <a:alpha val="40000"/>
            </a:srgbClr>
          </a:solidFill>
          <a:ln w="19050" algn="ctr">
            <a:noFill/>
            <a:miter lim="800000"/>
            <a:headEnd/>
            <a:tailEnd/>
          </a:ln>
        </p:spPr>
        <p:txBody>
          <a:bodyPr wrap="square" lIns="66675" tIns="66675" rIns="66675" bIns="66675" rtlCol="0" anchor="ctr"/>
          <a:lstStyle/>
          <a:p>
            <a:pPr algn="ctr">
              <a:lnSpc>
                <a:spcPct val="106000"/>
              </a:lnSpc>
              <a:buFont typeface="Arial" pitchFamily="34" charset="0"/>
              <a:buNone/>
            </a:pPr>
            <a:r>
              <a:rPr lang="nb-NO" sz="900" b="1" dirty="0"/>
              <a:t>Mennesker</a:t>
            </a:r>
          </a:p>
        </p:txBody>
      </p:sp>
      <p:sp>
        <p:nvSpPr>
          <p:cNvPr id="14" name="Rectangle 13"/>
          <p:cNvSpPr/>
          <p:nvPr/>
        </p:nvSpPr>
        <p:spPr bwMode="gray">
          <a:xfrm>
            <a:off x="4412065" y="4828510"/>
            <a:ext cx="1177556" cy="308911"/>
          </a:xfrm>
          <a:prstGeom prst="rect">
            <a:avLst/>
          </a:prstGeom>
          <a:solidFill>
            <a:srgbClr val="FFC000">
              <a:alpha val="40000"/>
            </a:srgbClr>
          </a:solidFill>
          <a:ln w="19050" algn="ctr">
            <a:noFill/>
            <a:miter lim="800000"/>
            <a:headEnd/>
            <a:tailEnd/>
          </a:ln>
        </p:spPr>
        <p:txBody>
          <a:bodyPr wrap="square" lIns="66675" tIns="66675" rIns="66675" bIns="66675" rtlCol="0" anchor="ctr"/>
          <a:lstStyle/>
          <a:p>
            <a:pPr algn="ctr">
              <a:lnSpc>
                <a:spcPct val="106000"/>
              </a:lnSpc>
              <a:buFont typeface="Arial" pitchFamily="34" charset="0"/>
              <a:buNone/>
            </a:pPr>
            <a:r>
              <a:rPr lang="nb-NO" sz="900" b="1" dirty="0"/>
              <a:t>Materiale</a:t>
            </a:r>
          </a:p>
        </p:txBody>
      </p:sp>
      <p:sp>
        <p:nvSpPr>
          <p:cNvPr id="15" name="Rectangle 14"/>
          <p:cNvSpPr/>
          <p:nvPr/>
        </p:nvSpPr>
        <p:spPr bwMode="gray">
          <a:xfrm>
            <a:off x="6619649" y="4828512"/>
            <a:ext cx="1177556" cy="308911"/>
          </a:xfrm>
          <a:prstGeom prst="rect">
            <a:avLst/>
          </a:prstGeom>
          <a:solidFill>
            <a:srgbClr val="FFC000">
              <a:alpha val="40000"/>
            </a:srgbClr>
          </a:solidFill>
          <a:ln w="19050" algn="ctr">
            <a:noFill/>
            <a:miter lim="800000"/>
            <a:headEnd/>
            <a:tailEnd/>
          </a:ln>
        </p:spPr>
        <p:txBody>
          <a:bodyPr wrap="square" lIns="66675" tIns="66675" rIns="66675" bIns="66675" rtlCol="0" anchor="ctr"/>
          <a:lstStyle/>
          <a:p>
            <a:pPr algn="ctr">
              <a:lnSpc>
                <a:spcPct val="106000"/>
              </a:lnSpc>
              <a:buFont typeface="Arial" pitchFamily="34" charset="0"/>
              <a:buNone/>
            </a:pPr>
            <a:r>
              <a:rPr lang="nb-NO" sz="900" b="1" dirty="0"/>
              <a:t>Metode</a:t>
            </a:r>
          </a:p>
        </p:txBody>
      </p:sp>
      <p:cxnSp>
        <p:nvCxnSpPr>
          <p:cNvPr id="21" name="Straight Arrow Connector 20"/>
          <p:cNvCxnSpPr>
            <a:stCxn id="15" idx="0"/>
          </p:cNvCxnSpPr>
          <p:nvPr/>
        </p:nvCxnSpPr>
        <p:spPr>
          <a:xfrm flipV="1">
            <a:off x="7208427" y="3712093"/>
            <a:ext cx="588778" cy="1116419"/>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5000843" y="3697366"/>
            <a:ext cx="588778" cy="1116419"/>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2793258" y="3722724"/>
            <a:ext cx="588778" cy="1116419"/>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6099319" y="2595674"/>
            <a:ext cx="588778" cy="1116419"/>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3891735" y="2595674"/>
            <a:ext cx="588778" cy="1116419"/>
          </a:xfrm>
          <a:prstGeom prst="straightConnector1">
            <a:avLst/>
          </a:prstGeom>
          <a:ln>
            <a:solidFill>
              <a:srgbClr val="44546A"/>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303332" y="3850316"/>
            <a:ext cx="1249325" cy="294953"/>
          </a:xfrm>
          <a:prstGeom prst="rect">
            <a:avLst/>
          </a:prstGeom>
          <a:noFill/>
        </p:spPr>
        <p:txBody>
          <a:bodyPr wrap="square" lIns="0" tIns="0" rIns="0" bIns="0" rtlCol="0">
            <a:spAutoFit/>
          </a:bodyPr>
          <a:lstStyle/>
          <a:p>
            <a:pPr marL="128588" indent="-128588">
              <a:spcAft>
                <a:spcPts val="450"/>
              </a:spcAft>
              <a:buSzPct val="100000"/>
              <a:buFont typeface="Arial" panose="020B0604020202020204" pitchFamily="34" charset="0"/>
              <a:buChar char="•"/>
            </a:pPr>
            <a:r>
              <a:rPr lang="nb-NO" sz="750" dirty="0"/>
              <a:t>God praksis ikke etablert</a:t>
            </a:r>
          </a:p>
          <a:p>
            <a:pPr marL="128588" indent="-128588">
              <a:spcAft>
                <a:spcPts val="450"/>
              </a:spcAft>
              <a:buSzPct val="100000"/>
              <a:buFont typeface="Arial" panose="020B0604020202020204" pitchFamily="34" charset="0"/>
              <a:buChar char="•"/>
            </a:pPr>
            <a:r>
              <a:rPr lang="nb-NO" sz="750" dirty="0"/>
              <a:t>Uklare prosedyrer</a:t>
            </a:r>
            <a:endParaRPr lang="nb-NO" sz="750" dirty="0" err="1"/>
          </a:p>
        </p:txBody>
      </p:sp>
      <p:sp>
        <p:nvSpPr>
          <p:cNvPr id="29" name="TextBox 28"/>
          <p:cNvSpPr txBox="1"/>
          <p:nvPr/>
        </p:nvSpPr>
        <p:spPr>
          <a:xfrm>
            <a:off x="4095748" y="3850315"/>
            <a:ext cx="1249325" cy="654025"/>
          </a:xfrm>
          <a:prstGeom prst="rect">
            <a:avLst/>
          </a:prstGeom>
          <a:noFill/>
        </p:spPr>
        <p:txBody>
          <a:bodyPr wrap="square" lIns="0" tIns="0" rIns="0" bIns="0" rtlCol="0">
            <a:spAutoFit/>
          </a:bodyPr>
          <a:lstStyle/>
          <a:p>
            <a:pPr marL="128588" indent="-128588">
              <a:spcAft>
                <a:spcPts val="450"/>
              </a:spcAft>
              <a:buSzPct val="100000"/>
              <a:buFont typeface="Arial" panose="020B0604020202020204" pitchFamily="34" charset="0"/>
              <a:buChar char="•"/>
            </a:pPr>
            <a:r>
              <a:rPr lang="nb-NO" sz="750" dirty="0"/>
              <a:t>Ustabile PCer</a:t>
            </a:r>
          </a:p>
          <a:p>
            <a:pPr marL="128588" indent="-128588">
              <a:spcAft>
                <a:spcPts val="450"/>
              </a:spcAft>
              <a:buSzPct val="100000"/>
              <a:buFont typeface="Arial" panose="020B0604020202020204" pitchFamily="34" charset="0"/>
              <a:buChar char="•"/>
            </a:pPr>
            <a:r>
              <a:rPr lang="nb-NO" sz="750" dirty="0"/>
              <a:t>Dårlig skjermkvalitet</a:t>
            </a:r>
          </a:p>
          <a:p>
            <a:pPr marL="128588" indent="-128588">
              <a:spcAft>
                <a:spcPts val="450"/>
              </a:spcAft>
              <a:buSzPct val="100000"/>
              <a:buFont typeface="Arial" panose="020B0604020202020204" pitchFamily="34" charset="0"/>
              <a:buChar char="•"/>
            </a:pPr>
            <a:r>
              <a:rPr lang="nb-NO" sz="750" dirty="0"/>
              <a:t>Papirarkiv</a:t>
            </a:r>
          </a:p>
          <a:p>
            <a:pPr marL="128588" indent="-128588">
              <a:spcAft>
                <a:spcPts val="450"/>
              </a:spcAft>
              <a:buSzPct val="100000"/>
              <a:buFont typeface="Arial" panose="020B0604020202020204" pitchFamily="34" charset="0"/>
              <a:buChar char="•"/>
            </a:pPr>
            <a:r>
              <a:rPr lang="nb-NO" sz="750" dirty="0"/>
              <a:t>Mange utskrifter</a:t>
            </a:r>
            <a:endParaRPr lang="nb-NO" sz="750" dirty="0" err="1"/>
          </a:p>
        </p:txBody>
      </p:sp>
      <p:sp>
        <p:nvSpPr>
          <p:cNvPr id="30" name="TextBox 29"/>
          <p:cNvSpPr txBox="1"/>
          <p:nvPr/>
        </p:nvSpPr>
        <p:spPr>
          <a:xfrm>
            <a:off x="1825697" y="3850315"/>
            <a:ext cx="1249325" cy="294953"/>
          </a:xfrm>
          <a:prstGeom prst="rect">
            <a:avLst/>
          </a:prstGeom>
          <a:noFill/>
        </p:spPr>
        <p:txBody>
          <a:bodyPr wrap="square" lIns="0" tIns="0" rIns="0" bIns="0" rtlCol="0">
            <a:spAutoFit/>
          </a:bodyPr>
          <a:lstStyle/>
          <a:p>
            <a:pPr marL="128588" indent="-128588">
              <a:spcAft>
                <a:spcPts val="450"/>
              </a:spcAft>
              <a:buSzPct val="100000"/>
              <a:buFont typeface="Arial" panose="020B0604020202020204" pitchFamily="34" charset="0"/>
              <a:buChar char="•"/>
            </a:pPr>
            <a:r>
              <a:rPr lang="nb-NO" sz="750" dirty="0"/>
              <a:t>Mange avdelingsmøter</a:t>
            </a:r>
          </a:p>
          <a:p>
            <a:pPr marL="128588" indent="-128588">
              <a:spcAft>
                <a:spcPts val="450"/>
              </a:spcAft>
              <a:buSzPct val="100000"/>
              <a:buFont typeface="Arial" panose="020B0604020202020204" pitchFamily="34" charset="0"/>
              <a:buChar char="•"/>
            </a:pPr>
            <a:r>
              <a:rPr lang="nb-NO" sz="750" dirty="0"/>
              <a:t>Mye overtid</a:t>
            </a:r>
            <a:endParaRPr lang="nb-NO" sz="750" dirty="0" err="1"/>
          </a:p>
        </p:txBody>
      </p:sp>
      <p:sp>
        <p:nvSpPr>
          <p:cNvPr id="31" name="TextBox 30"/>
          <p:cNvSpPr txBox="1"/>
          <p:nvPr/>
        </p:nvSpPr>
        <p:spPr>
          <a:xfrm>
            <a:off x="4954327" y="2712034"/>
            <a:ext cx="1249325" cy="474489"/>
          </a:xfrm>
          <a:prstGeom prst="rect">
            <a:avLst/>
          </a:prstGeom>
          <a:noFill/>
        </p:spPr>
        <p:txBody>
          <a:bodyPr wrap="square" lIns="0" tIns="0" rIns="0" bIns="0" rtlCol="0">
            <a:spAutoFit/>
          </a:bodyPr>
          <a:lstStyle/>
          <a:p>
            <a:pPr marL="128588" indent="-128588">
              <a:spcAft>
                <a:spcPts val="450"/>
              </a:spcAft>
              <a:buSzPct val="100000"/>
              <a:buFont typeface="Arial" panose="020B0604020202020204" pitchFamily="34" charset="0"/>
              <a:buChar char="•"/>
            </a:pPr>
            <a:r>
              <a:rPr lang="nb-NO" sz="750" dirty="0"/>
              <a:t>Manuelle prosesser</a:t>
            </a:r>
          </a:p>
          <a:p>
            <a:pPr marL="128588" indent="-128588">
              <a:spcAft>
                <a:spcPts val="450"/>
              </a:spcAft>
              <a:buSzPct val="100000"/>
              <a:buFont typeface="Arial" panose="020B0604020202020204" pitchFamily="34" charset="0"/>
              <a:buChar char="•"/>
            </a:pPr>
            <a:r>
              <a:rPr lang="nb-NO" sz="750" dirty="0"/>
              <a:t>Dårlig grensesnitt</a:t>
            </a:r>
          </a:p>
          <a:p>
            <a:pPr marL="128588" indent="-128588">
              <a:spcAft>
                <a:spcPts val="450"/>
              </a:spcAft>
              <a:buSzPct val="100000"/>
              <a:buFont typeface="Arial" panose="020B0604020202020204" pitchFamily="34" charset="0"/>
              <a:buChar char="•"/>
            </a:pPr>
            <a:r>
              <a:rPr lang="nb-NO" sz="750" dirty="0" err="1"/>
              <a:t>Nedetid</a:t>
            </a:r>
            <a:r>
              <a:rPr lang="nb-NO" sz="750" dirty="0"/>
              <a:t> på system</a:t>
            </a:r>
            <a:endParaRPr lang="nb-NO" sz="750" dirty="0" err="1"/>
          </a:p>
        </p:txBody>
      </p:sp>
      <p:sp>
        <p:nvSpPr>
          <p:cNvPr id="32" name="TextBox 31"/>
          <p:cNvSpPr txBox="1"/>
          <p:nvPr/>
        </p:nvSpPr>
        <p:spPr>
          <a:xfrm>
            <a:off x="2601540" y="2705045"/>
            <a:ext cx="1435396" cy="654025"/>
          </a:xfrm>
          <a:prstGeom prst="rect">
            <a:avLst/>
          </a:prstGeom>
          <a:noFill/>
        </p:spPr>
        <p:txBody>
          <a:bodyPr wrap="square" lIns="0" tIns="0" rIns="0" bIns="0" rtlCol="0">
            <a:spAutoFit/>
          </a:bodyPr>
          <a:lstStyle/>
          <a:p>
            <a:pPr marL="128588" indent="-128588">
              <a:spcAft>
                <a:spcPts val="450"/>
              </a:spcAft>
              <a:buSzPct val="100000"/>
              <a:buFont typeface="Arial" panose="020B0604020202020204" pitchFamily="34" charset="0"/>
              <a:buChar char="•"/>
            </a:pPr>
            <a:r>
              <a:rPr lang="nb-NO" sz="750" dirty="0"/>
              <a:t>Få ressurser</a:t>
            </a:r>
          </a:p>
          <a:p>
            <a:pPr marL="128588" indent="-128588">
              <a:spcAft>
                <a:spcPts val="450"/>
              </a:spcAft>
              <a:buSzPct val="100000"/>
              <a:buFont typeface="Arial" panose="020B0604020202020204" pitchFamily="34" charset="0"/>
              <a:buChar char="•"/>
            </a:pPr>
            <a:r>
              <a:rPr lang="nb-NO" sz="750" dirty="0"/>
              <a:t>Manglende kompetanse</a:t>
            </a:r>
          </a:p>
          <a:p>
            <a:pPr marL="128588" indent="-128588">
              <a:spcAft>
                <a:spcPts val="450"/>
              </a:spcAft>
              <a:buSzPct val="100000"/>
              <a:buFont typeface="Arial" panose="020B0604020202020204" pitchFamily="34" charset="0"/>
              <a:buChar char="•"/>
            </a:pPr>
            <a:r>
              <a:rPr lang="nb-NO" sz="750" dirty="0"/>
              <a:t>Manglende opplæring</a:t>
            </a:r>
          </a:p>
          <a:p>
            <a:pPr marL="128588" indent="-128588">
              <a:spcAft>
                <a:spcPts val="450"/>
              </a:spcAft>
              <a:buSzPct val="100000"/>
              <a:buFont typeface="Arial" panose="020B0604020202020204" pitchFamily="34" charset="0"/>
              <a:buChar char="•"/>
            </a:pPr>
            <a:r>
              <a:rPr lang="nb-NO" sz="750" dirty="0"/>
              <a:t>Sårbart for sykemeldinger</a:t>
            </a:r>
            <a:endParaRPr lang="nb-NO" sz="750" dirty="0" err="1"/>
          </a:p>
        </p:txBody>
      </p:sp>
    </p:spTree>
    <p:extLst>
      <p:ext uri="{BB962C8B-B14F-4D97-AF65-F5344CB8AC3E}">
        <p14:creationId xmlns:p14="http://schemas.microsoft.com/office/powerpoint/2010/main" val="547351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P spid="3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B7B3797A-CE81-42DE-BD10-57582658A6CC}"/>
              </a:ext>
            </a:extLst>
          </p:cNvPr>
          <p:cNvSpPr>
            <a:spLocks noGrp="1"/>
          </p:cNvSpPr>
          <p:nvPr>
            <p:ph type="title"/>
          </p:nvPr>
        </p:nvSpPr>
        <p:spPr/>
        <p:txBody>
          <a:bodyPr/>
          <a:lstStyle/>
          <a:p>
            <a:r>
              <a:rPr lang="nb-NO" dirty="0"/>
              <a:t>Brukerreiser, tjenestedesign, </a:t>
            </a:r>
            <a:r>
              <a:rPr lang="nb-NO"/>
              <a:t>personas</a:t>
            </a:r>
          </a:p>
        </p:txBody>
      </p:sp>
      <p:sp>
        <p:nvSpPr>
          <p:cNvPr id="6" name="Plassholder for innhold 5">
            <a:extLst>
              <a:ext uri="{FF2B5EF4-FFF2-40B4-BE49-F238E27FC236}">
                <a16:creationId xmlns:a16="http://schemas.microsoft.com/office/drawing/2014/main" id="{366FD177-5BDD-4B3F-B22B-A934C3B5AD11}"/>
              </a:ext>
            </a:extLst>
          </p:cNvPr>
          <p:cNvSpPr>
            <a:spLocks noGrp="1"/>
          </p:cNvSpPr>
          <p:nvPr>
            <p:ph idx="1"/>
          </p:nvPr>
        </p:nvSpPr>
        <p:spPr/>
        <p:txBody>
          <a:bodyPr/>
          <a:lstStyle/>
          <a:p>
            <a:endParaRPr lang="nb-NO"/>
          </a:p>
        </p:txBody>
      </p:sp>
    </p:spTree>
    <p:extLst>
      <p:ext uri="{BB962C8B-B14F-4D97-AF65-F5344CB8AC3E}">
        <p14:creationId xmlns:p14="http://schemas.microsoft.com/office/powerpoint/2010/main" val="19921193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00E12F4-83F9-4C1F-A95A-24CC444290E6}"/>
              </a:ext>
            </a:extLst>
          </p:cNvPr>
          <p:cNvSpPr>
            <a:spLocks noGrp="1"/>
          </p:cNvSpPr>
          <p:nvPr>
            <p:ph type="title"/>
          </p:nvPr>
        </p:nvSpPr>
        <p:spPr/>
        <p:txBody>
          <a:bodyPr/>
          <a:lstStyle/>
          <a:p>
            <a:r>
              <a:rPr lang="nb-NO" dirty="0">
                <a:cs typeface="Arial"/>
              </a:rPr>
              <a:t>Tips til forberedelse kartlegging</a:t>
            </a:r>
            <a:endParaRPr lang="nb-NO" dirty="0"/>
          </a:p>
        </p:txBody>
      </p:sp>
      <p:sp>
        <p:nvSpPr>
          <p:cNvPr id="3" name="Plassholder for innhold 2">
            <a:extLst>
              <a:ext uri="{FF2B5EF4-FFF2-40B4-BE49-F238E27FC236}">
                <a16:creationId xmlns:a16="http://schemas.microsoft.com/office/drawing/2014/main" id="{CA672FE1-9C1C-4B41-B993-22B03A2B21DF}"/>
              </a:ext>
            </a:extLst>
          </p:cNvPr>
          <p:cNvSpPr>
            <a:spLocks noGrp="1"/>
          </p:cNvSpPr>
          <p:nvPr>
            <p:ph idx="1"/>
          </p:nvPr>
        </p:nvSpPr>
        <p:spPr/>
        <p:txBody>
          <a:bodyPr/>
          <a:lstStyle/>
          <a:p>
            <a:pPr marL="271145" indent="-271145"/>
            <a:r>
              <a:rPr lang="nb-NO" dirty="0">
                <a:cs typeface="Arial"/>
              </a:rPr>
              <a:t>Forbered agendaen godt</a:t>
            </a:r>
          </a:p>
          <a:p>
            <a:pPr marL="271145" indent="-271145"/>
            <a:r>
              <a:rPr lang="nb-NO" dirty="0">
                <a:cs typeface="Arial"/>
              </a:rPr>
              <a:t>Gjør klar utstyr – Post-it, gråpapir, tusjer</a:t>
            </a:r>
          </a:p>
          <a:p>
            <a:pPr marL="271145" indent="-271145"/>
            <a:r>
              <a:rPr lang="nb-NO" dirty="0">
                <a:cs typeface="Arial"/>
              </a:rPr>
              <a:t>Møt opp i god tid (gjerne 30 min før møtet starter)</a:t>
            </a:r>
          </a:p>
          <a:p>
            <a:pPr marL="271145" indent="-271145"/>
            <a:r>
              <a:rPr lang="nb-NO" dirty="0">
                <a:cs typeface="Arial"/>
              </a:rPr>
              <a:t>Rigg rommet på forhånd – heng opp gråpapir til kartleggingen, legg frem Post-its, tusjer </a:t>
            </a:r>
          </a:p>
          <a:p>
            <a:pPr marL="271145" indent="-271145"/>
            <a:r>
              <a:rPr lang="nb-NO" dirty="0">
                <a:cs typeface="Arial"/>
              </a:rPr>
              <a:t>Bestill kaffe og frukt/boller</a:t>
            </a:r>
          </a:p>
        </p:txBody>
      </p:sp>
    </p:spTree>
    <p:extLst>
      <p:ext uri="{BB962C8B-B14F-4D97-AF65-F5344CB8AC3E}">
        <p14:creationId xmlns:p14="http://schemas.microsoft.com/office/powerpoint/2010/main" val="85342616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500006209"/>
              </p:ext>
            </p:extLst>
          </p:nvPr>
        </p:nvGraphicFramePr>
        <p:xfrm>
          <a:off x="3048000" y="1397000"/>
          <a:ext cx="6818334" cy="48660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bwMode="auto">
          <a:xfrm>
            <a:off x="3431704" y="548680"/>
            <a:ext cx="5112568" cy="79208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nb-NO" sz="4000" b="1">
                <a:latin typeface="Arial" charset="0"/>
                <a:ea typeface="ヒラギノ角ゴ Pro W3" charset="-128"/>
                <a:cs typeface="ヒラギノ角ゴ Pro W3" charset="-128"/>
              </a:rPr>
              <a:t>Agenda workshop 1</a:t>
            </a:r>
            <a:endParaRPr lang="en-GB" sz="4000" b="1">
              <a:latin typeface="Arial" charset="0"/>
              <a:ea typeface="ヒラギノ角ゴ Pro W3" charset="-128"/>
              <a:cs typeface="ヒラギノ角ゴ Pro W3" charset="-128"/>
            </a:endParaRPr>
          </a:p>
        </p:txBody>
      </p:sp>
      <p:pic>
        <p:nvPicPr>
          <p:cNvPr id="15364" name="Picture 4" descr="https://static.thenounproject.com/png/1887836-200.png">
            <a:hlinkClick r:id="rId8" tooltip="goal"/>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36846" y="1812379"/>
            <a:ext cx="720080" cy="720080"/>
          </a:xfrm>
          <a:prstGeom prst="rect">
            <a:avLst/>
          </a:prstGeom>
          <a:noFill/>
          <a:extLst>
            <a:ext uri="{909E8E84-426E-40DD-AFC4-6F175D3DCCD1}">
              <a14:hiddenFill xmlns:a14="http://schemas.microsoft.com/office/drawing/2010/main">
                <a:solidFill>
                  <a:srgbClr val="FFFFFF"/>
                </a:solidFill>
              </a14:hiddenFill>
            </a:ext>
          </a:extLst>
        </p:spPr>
      </p:pic>
      <p:sp>
        <p:nvSpPr>
          <p:cNvPr id="9" name="AutoShape 10" descr="data:image/png;base64,%20iVBORw0KGgoAAAANSUhEUgAAAP0AAAD+CAYAAAGGpjPEAAAAAXNSR0IArs4c6QAAAARnQU1BAACxjwv8YQUAAAAJcEhZcwAADsMAAA7DAcdvqGQAAH+NSURBVHhe7V0HeBzF2d6ZvaZilSuSZYyNjWmm904IEAgl/08CpgUC5Cd0QrFVDAFhmiXZpncIhNACDgkt1IQWOpiOacbGFMuS7k5y00l3tzP/++3uySfp7nRN0tne93n2bnd2d3b26zM7RRltMPPfRKPN3MkRs6LmzujA663TzN0hwc1/3FR/mrmbB6h9+Y44PJ66R83dtJCwpBMnNroSbbFzif5Twef7k/T5LsFWd7KZlBxud2OZudsPVVUzq83dlBhIAbe7bry5qwPycZy5qyNvvKI3NHf74PHUPxUMtvxoHsbwkPmvY1ABgkGlB2+x3NzaY/uapn1sXjIIeKs/dHRczXy+i/sVgjHxnrkbBzZA9VOgpuYir7nbh8rK+nJztw/QoL4He70N/QqBwn9l7ia8d1BpSAZUVVthHvZDR8dVSUtPD/b7m/TzJHR6YhJIGcG1zYnZn4sQer0zUz44Hj7fZfq1CSlgs4Ummod90DTmCQSaXzEPkwLs6JJSfm8csc1xTz81pQd3dFzBqLB+/2w2yPYHg7NW4u9T2icZaG291k/7MUCXjxZCudE87ANEy+P3tzjx8BcCgZZjKA2FWaifjIOUPcLYM959SDX0+RpL4zchmAsPGDdww6VDUicRkgpVMhAF8LfMOFoLKdl1EKzdIfWPokB9FEDaVP0CE+SoQK19pVTfIBaYyfkDFcDcTciCgZ6yXwmqquq2NXezBlg0F299CO0nowBkRTUPhwegQgf9Z0QBXPwZ/q43jnKBgEYU39XRMQuqNkoUiCEdCuTNG2aLfkLo810KOxK+mTH7uTG7T25WyuitjNnOJo9HaWTFpBR3ce6EF7yCjRnT4HE45Hfwfo/hnU4G2UH+2p2k5E/j8lehdsdJuZa9sI4XmrtrAd/9sLmrg5yLz1ffYB7qoMLAJ2xnHuoAScX48RcWmYc6QPqwudsHXPeuuZs9kEm/aIaAh91k7vYB131i7vYBVjSho0oqA6AIyDkQbBDpwJpzzd04qAnsyRBVhYGBBN7i8IF+3eOp3SLe5Rrx3jQ1Pg3X/Jz+B1x3ibk7CP2EkAoBYTmRMfkACZKRNlNCuE5F+r1r0+pxnTybMXYrpSHSmaCqcjHS6hlTYQmbSAj3BYEfx303Ib9Lh9R9WK9+Roge4vE0nGQe6jCFsF9gAkoNqgUNjA0J8aFZAsh+lEgGn69hmrnbB2jKdeZuHyA/gwLYIYTw8rRMI3S/29ztA8jeL2AhQO8HqaGiRMx/C/0Rx/tRbBtIVK3KBTU1jcXmbnqoqkosodmgtHSmz9zNDLGKQq4gC2rupoU+GYhVGMizqWrZoMIsXTqrx9xNCSoArN6/zEMyaD9BWasYc9kofzN5MGIUQAYBPWEAkFGCmu5gxFNgoGwhj0F1zrxERIlMLwGV0CPMXR3wG4Nqx4MKgApGFHZbbxPA2/Ttw6F8ZF7SDwbrrmG45g4zKQ5sR3NnaCQSQmT6tbmbFCjkH8xdcsVXxbMA+/8wd3XEu+gYBgkheUHEhGbqWoCc74OEu5qH/QDXe6HfP0d3SnjoXMYc0/UTCSEVu13zLlvW1F/WchVCeMArzN0hQfGDuZuQAl2cSwQT/YEq1z3JKBADCn8BApALsEtVfIVzdlJHR3OStiUy/XFmO10ZwEOoEWvZ4G36Aeb5PhlIXdc0fM9Qasji2wZoQ9rLA9sGaENWCVVxKKT0gMh4M3O3D2BRhc9Xt5d52Ach0ns+NGUXsMbR0aH0ryckYkE2SMSCqqorkuYdJ4SXQv16+9V6sgEosTFU8hnapwK0t7d8Snl3dFyZyg/kNR5g5eWNFbQTowAVgP4TQS8VpPhbxPiz9ZQcATU8EJXP42k/bQoMF9KhQF68YS7oIwvYsAhs+Bgk3BZVsYsgSE9Dosl/P01ktdm0g9ra5n3m9VJ7QeQviP1PKCkpKqdAheqQQoTvRLXs9FjTG721lOFb4VfOFqL3arxrCaUnaxsYVLuBvg/wCY0cBeo0D3RQ9DQ46Kg9ghyaeajD7a4939xNjESt2wMzIaAAL5q7fQDl/mzu9qG6un4Tc3dImDKQnoAirjvI3I0D+x9zpw+aplDTTGYAG+40d+lN9RovKqN9jQ9erxF2wen0eUSiErWul5Y29n3YIGq63X/ayjzUMbDtIR59ldKSkn0eKy7eu7yoaJ9bQZg/hUKvv19cvM87xcV7CaQ9Axd9YHf3G9+XlOz3I65bhe01VdXKIHSry8r2WFNcvG9rcfF+CFqu5qHQax1UuJKSfb9DHh/FPmQkBS5+wNztA9IGVbHA7zXmbh8GCqHbXbfbwDeurKw91twdBF0GoCq/1Y/6I0GVnb1m7vRBymi/YDQYbHlX08J9EQ+hs3POI/hLSAW9AKj36wdDQ64yd+Igu8ydPtjtzkHtAz7f2bodsFBo6CcXqGHtgKQP0xeJkQFjHGKqNUOb+7Uc5xmNfKjvnaMJWKAPqqunV5mHecMgywDzR0qNOvSoByompC4BHR2rXIpyU6+ZOLzIV/0gHwDnH42vZ6SC8dGkMSPOJfQNsUoy7VN/A1VVutjgT9xJIFEv0T5A2LczHZnROBVKJ2pV1SzZ3t7Y91xypLHPUIlABEDoeV98m1cMNTWnF0ej3jWwWcfBPpCv6wMkuQ1/7ajMp6gbJ0G8BFCsAw4kbK5IBPqSgIen1ZaWDpJJQGXlzL0TfRAYCJQlpTSnKy4M9ekx6WxgdD+HjxcI4a+Pw8kKRJKCFz0O529PVYWKgXOByoZ6qnmYAlm4tHRsAHXrwMsN2Xw3FNzuGQchn0HGDWnXghgCRLk/sQ04zzkUoRDNH4x7M/9Ekw4BysvPr0AhU30A02G61qQ6HgPyOiORdECqqM0z6UtADZ6i4BvXXErtXWPHzpyKfD6ltlCyEeZlmWE0bQCqtJclasjNHfRdt0GCQP0+oyTkTLwXIAJwHloCK+zRTw4BIoAQ4umhmlKHgsFRdoWiiM2lTGyrAoE5Q0rgQJBExneEG5IARDmPZ/JCxlCMOOBIhXuiatcSI6UfbgfB+r4/ezwztzR300IgMPtLc5dUI6EbhJQtRCX5WGr4MpMSAoTs11GGavZ+v92e8pNiPo0g9fZCIZ41D4cErn0eeq93OyAQAZA2yAgSAWINb6lABDB3dRhNG2u/y2Yd77a2RlA3ZmSEvk61JersV0hIQwVyA3kLu93ZL0obCprGjunsbNY/KuZDBaCuLyAPk9lMhX1K0LoWh3RUYKSQiQokigsGqsBA9OOyz1d/t5TyJCnZUjOpIADujYW2jonv8ZlIAsx6R793IgLEG8GUKPD2gG+oj555ODwSQCALjPp30mbMkQYkkhzwm8Fgy31mko5hkYB1CcMmAWshGXzmfojq3NC/r4LB2YM6wxKoESIUstFX2xJw5POOjrnfGmf6o7T0Im9RkWMX1N1VcPVDRHGDeoITqDsi53wHuM+wpinvrVjR1O+LUAykEvi7A/bB7LRPtsL+iKZFjuK839fnv0EC0nf3oCwqFvWXmYf9QOegInojPjVkuN31v9ZPxGHKFKOWRl8I6NioqNQP6jVSWXnRxrEvCNToQvkNjNMJlZUz9jS/PjCf76K9jHrC6YM6c4DTqEon/waTFhKJ0EAguPkbEcI8TApw6PV03Cn19UGe1HqTEvTiiCo/MA+TYuCnmqEwQDSGvjcQaB7UhzgRUHe4Rcre/5iHSaFp0dvwN6i5ayCk1D4Lh+1HmYcpMLinTyr0I4CU4WZwLuW3RVPMfkK19RojJRFOtzPmopFb20NldjHSBoNEn3N2JufOU+Nd3EBAnX4Dkk6y27XFZlJCQJKukjL0jnmYFhIaQYj4D/gbD5J8h/9FcEM7MqaigGInhJEf6hcBBjEkWVlUiiTEmO0Amla4XA7Pjz/OChpXTVN9vs2jQkR7cQ1VX0O4bhvOHSU2Gy9pbZ2l98elvpbRqLZGiPBq+laPa0phMLdizObw+68hRuni6fVeUKMoRTCgGjXff4SyjcP1epcalC19Y5cMFAwl6qVMgHT0gjj6R356+erq6dvoJwaAzoEbv4rt64kJYNiSk13IZ1Ky68rLGyqNc6fbKc9kbo0+Sqd6VlpIJxJEoW9PxwiioM+mYwSpeor8fjIPk4KeiTxfNg+TIgcj2GhL55sgxOxMc3co3CxEz3xzPwWif4J0328epML7nKtpGGAJIpxN3drSQsZewERGVM4PRuGRFiysv0hSCVrbWDj6WAiln5+yJpctBtaXBWpRqHMXUq8QZvYJSD6QPWcgqLgJW1YjoYcbNAgOfn/gpAg5I87lySOqq10HmwcFBb9/1zfxt5FxlD/0vTxqaQe3t4fSGowz0vB63/8GsX3aH1HSxQCdr/0Z6AHRz73ekD8I1ETZ3YFAU99ImGEDVSYStbyMFnKuwKRAIbE4R0iW6dDEQe6DOG+zqWOXL5+tz3lASGeCnnisHchHg38vpy+sZp/YaaqiVILgd5odGSieSO3HifOpujGjvMcx5noY9X6oRyTKmMMmRMQfCDQPKb1Dch71+rbu7mgo3W3Nmp6Q8ZJU767f0uvt0UemENzuyed6vRX3mIfIO9To8Uw63TzMGHB/74J/d9K3Seo95ve32CkegHE8ndoFPXo/pAwwUOfx8sup5dY8HBJGK6zx8vlAMp3Hix2Jl0/6zZ4+x8d67SfDOqvzjLHH/P7mpGE4zbEjpfZ2omb4GArm5SFhM8zWm0PNpCHAhyy7EOwixpSkQ1/Sevm2tpJS0p90tvjGB4js5nihvhku8IJn4OVuNQ/7gLB6OgrZDE7CsPFn3O6GNCLNpDawD6qqBFAemsAoIdJ4efalwyE+x/838RvEbgVuXzQwHZUieAnDesNKf40X6muLDwRa7oBROts81AFigDs0pY/xAZIsO+eMurkcqF+QFOlUvuQ+yPt582BoDDR4yQAuroKrcpiHWYMMGjh/onnYBzKc1JU1mcGDRHVVVdUeaR4mBDWopnLTw6zzjXyowIM4DdwPTvdrJKVODKoqXzcPBwESVSGE+s9kjAJxPpay9+VUkwfk+PKzUnYddbtDW0QiPY+bh0lhEMB+GwrczzjFghvYgIT9cPz+b53RqGzHfQsrKujz9qMqpKgBxxK+vhME0kdDJ8Mgq0FiHx/hkZ/n3JHWzIgERFko1GK4oMxbX4xJDLRzOzqabzGTdBgfWVO67JSQMopNfAebM8lMSoyBOj/SQQ7d73anMYdlhsB7vAmJ6Gclh1nnMwfpOuf8L273jDS+2KYPcJ06WzDqomukFODLEwx3p/6dCABDuEWSLan/TgbGtB05D71lHqan87jpcBQmwWxGgyEE/wSGKCudHwg8+yNYwu1hvQZ2VhSMqdvHd2tLBJ+vYQp0/R3EEOan8dPtXm/lNzCE+vjjdF7+LkRfgya+ADbD7Qhs+hsiWFk1fnYG6tmtaUqleTgkEI+vjp/BNVmVlmzDUC9fVdUwWQj5b7zsZCMlw5dPBhBlVSBQBIrG6uqJQV+C4QGWUTc0MykpwGUJjo6jmWPMpGF9+UEYaO2TgV4+nQgvnb5A8Rj4yTl5hDf0QAd6eVj4uJ4e9PL11BFDR04Gr7y8t2Tg7CfxW8YzXo0wcnh59qbNJt8RoueDZFs43PMRBRiFiqx1Pl2Q2EvZszP0ech2QMYErnW+GT+gMVed1zTxOmr+NFUujKk+CvOvMZ0fdj8vZfhJvNZseIHGoTa4ycshKUPWBTIDq4jlj9JcAi95g3liMNI1eCOFTAxeVdWV/dIGG7z+KMgIL1tkal8S6ryiqAdwrpn960YPmhaNMOb4Il2dh4eRNL2xeZjAz/dHv5tJxIB27Cac7H2U4ICxnBiJKO743tr5ePk+QDfew8vrEz8VHvTgRJ8bLoZEOk8vb+7qSFvnwfEyxNVD9nweHdSQRGb0ySwdDBJ7wx0oJPoFAdTKbJzbb9M07ehgsLmvGTzvOk8tnWvWhOAPWdq1sOEGCh8VQpvT1TWv32ixvOr8uoa86vyGiA365fvpTDxg/DaHhaXJ1lYFAq7Xkg3hrqqasZ2UfAoqDX7o1qAZxGLweGieTHUSKho/BIMtb5vJg1BZWbeXzaaMQ55LENwsMJMHwTDOom/MoBBKVFUdj6EuEZcmqjnnF/n9iZusB708fSKy2WyvI5MfYGufxEv5YG2PESLSHgg097Xf+3x1pyqK/R4pI5+i0vAKY8omjDl/hfveAhH6JhN1u+uaVNVej9DzTVz3Pq7bmjH7gbjvQVzX95nK46mfj+ccjfQXcd0XuG53xmy7475GXNc3GS10+GNEfSB47xMoH8rID8RrbAVGfYPTicbyvIRyP2XuJwcK+guDooMn9sFDTzPO0YvXXpVslmS8xD1GiKzvv4KtVT8xAB5P3Wu4Th+vh2vasJ9wYAHSacTHc+a+hvuu1U8MAK4RyOcc8zAt9OM8MoD7MJYHSAQ8eBZu2Q0c+mXqdY3qv2dM3g8O1kLkkjZ14WVWQLLuAZcvSPVcatoSIjoL1+2D65IOIU9rloU49HEYL3YWxCjph0FCINDSyBj/JQqCa5MDBZyAl7oYeri9mZQQNps6hV5c0xR9Qtdk4Dw6CfE9iX/qsfOKdqvXG0ooGYkQL94zoDeHmftJAX1TnE4ljaEkjKZH/MI8SAhqLaIprmKTDSRDW1vnT9T5eCiAOOfAnpxnHg6JfjlKWZxU9OKxcmU4resKHX0vDx1t5rxn0IyrAwFrDs7b0xiWLslzJByOFgN90KAGCLf7vIRLlsXg8ZRPTqcbPAzeHSjfXPNwSPS9vN8/hyZj1QcJJwMM1M2o+f0LBu9mMykhcB3icPknVdX6BiYmAnz+tzCKV3JelHJyI84dX0IlG/Byb5hJCQHVON3v/y7tmRoHKBLbJebOBgJByjW4/BwYvSNA3T/hBRN2TIClfwJ6NwFW/moYvcdxnLAVGOk0l89i+ODL8NyVeLGEhDI8QvQfuK4ZRm8vXNdv8cEYqDyMiZMz+UY4SHcrKi6ZaLOJ78AXajX5EJyZiIduiv1eGJS+OjWIcSBj6r+NDkjKh7DaWyI7WHnlXRR0d+MqvVAXgGjXgXOtnEvKDx6Ab4T46y8gUN/MaT5fw6M4Nw0S8yOu/Qx57YDnjsULndLRsXamBRDtS5zbAvd/j2u/AoFpCKyXscg+HR1zU0rGQAwyoXa7hpBW7+YdxsPxUPY3g0ayX4c/iNjRpNd4aRoiToVDdEVDQpR+U03hhY40r/sMIetfkS/cKQkX65tUiIAXPsRIp3Wt+F9AKP0jKO4/Rb+gD1IPVSE1tPzQfSgjiC8QyqqJPqamD4j88cnEmSYNiHXnhOg9DA4k/ECJ62bHvrchdliG/D7XTwwA0p9EPqtpH/892BKGoHjOcmw04BnScZn0eBoSju7Es0IUeZqHaaGf2OMhQ0V4FNycDIO3+xDTRC4ApxeCM0fDRvRbPCweeN5PuAaVHLk/rks6vJxCaej9bZCaCqjUCWbyIJC98vudmUd4KAg9IeW4ehTwNqpsKEr4d2ZSQuC6nUHXE3t61JSTkNvtrs1ApN/YbFq/eaIHAgSiZR7OSvXiBrTZXm/voMnQk6Hv5fGA0xyOoiH9Nyy5Eg6raUxszpQ1a2annDKCxtRThNfWNm/QbN7xQLyOSHCQeRoEuOuLkV9KxsSjL0dwgLe2tqbsV2cgqowZ05vHgUhJtScO0CBwJz2ke10Ca78hIe7l06dsojWiBiN9DqSHfOdnwYIFCxY2JAwZZ6DacQPCoF8g0kg6mMsC6h6MlkdXL/f7Z79qJhY8UlTR6qN4IRo98LKmKac4HNGAEKXpBKUbHDhfLSMR9VRVtd9EjY6Iya8IBJoazdMFi4TMBOMXof6+KV5knN9/TcJPTxYSodHh9fZQu+QWdntkLA1vNdILEwkreYzJJUa9QktjpQYLMdTUrKLPERuBdit7euxptBaMLlKZ/XrO1SZa10zK8Cq8UMKJXi2QlVfsnDtgKWk+B+3bQCC09Ygte5QD0vLhXm+9YMzBpOzZn3M26h11CwWaJumDx40woAfj6PDYiq7rCtJkfp3GmIuraqQqXyMz1hd49IUN+DRFEUf4EyxzVcjYoBt2Cw3UVwzC9C9Y2u/hdltpo31sz3u9Df1Wys8H8qD5j6pe7/vvIKsdyP2ZiXkGU5Hz3YFAc7/phmi4MbTuS5x7GudoQd1+z/d4Gs5G3HKLokT/3NHRfJqZ3AcQ9TLcQr0HzvT7m+82kzNCbprfyD2e0MtwHfsZrJAB1LAui0bDD61YUaF/4nW7g8Wcl05DLHElnlNDr4gg42PEFbvnGlfkzHwasM5Y6GvGFBtevm8x4XwBDB7DmG0liPu+3794j3wM384nsmU+tHo+aEYDAv0VFd3jFy1Kl5GNNgjM9xAYEoSX8Ezqv5eV0uXT7LNMpqBIF6pqK+gxu5lDn/hkNec2MF6cAIvjS5/xhFnRQKBlHKzdkQjCD6BgnPI0T2YEy+cnATSapvTqSG9Gq/Thdi+oh8aXSBm5DLWDh83kjAE39wTy0GfQ9Hjen6cnZoh1mvk0ewYxCG7pQRwOcmE493vSMp+v/jozaUjg+lrqLQRTPge+9WHOFQRb9dHKyosPMS/JCYzJYwyyyzzUDGgheYlqOPulmZAR8unzfVIyPwqT76CP4+V8yHeB378EQU68z2+0VVWFPb29jt4VK2YNWrzeWE24rEzTSrqDwVn9hm8OBJg+Hc+Za5BE6+e/8f6XoBhXoQx4tvwVzvVN2Jupz8dznsFzDsX1h8Xnkw1QO9gDwknDXV6HK0DQmBlyZj5h6tRGR1tbd1r+PhrlHptN+QxEXB6JFO1mt3en1QwaCHzXPRzBHt7tcEQWT4PhQgh+aDDY9IJ5ahDAuKvAOBqhqmgaP6yz85pnM2W+1ztzX9z9Chj2KRiGGlL2gEWi7rl7odxHBYOz/2Gkpo+8MD8T0ESm4bBtCXZbA4GibYaammckQP6dMXUO7UsZPScQmDNodst4gB44z88yrcRS7E/MJNpHDeZ/OHc+IUS4B0/cNNkaaclQVnah2+Gww9raPfD7x+K5j5qnMsI6zXy3e+ZUVXV8LmXoFRCApgvMyeVAk/4EklxJZEF9+yQEVQ+YpxICdLkPjNf7iUKTTwwEmij2SBPUPrIAdGAb4+5eIeR+wWDRB8l7G09TKyomTYXVfB330AekNr/fNT7d3smJkAfm6xNVfcp50Rbp9i2Vkrq9Uqf+9GqGMKuKEGseAoP1xfiGGz5f3UzEL9cY5NGOQ1Secl1buIN7UMZTYT1wlGmtKwJ6rPVma/OIxeI0KEn/YGQc6lBx3dpl3+CKQJ/uTtD/Sc7lXemO1siZ+cPdyGMsKlzcCSKMeCMP3vsCkEivKcASQLPnZKDZIwtq7YTAoO4vz4RwbAJ6rdA0uXdnZ0vCgSKEgm/kcTqL855nuoAwX08DV2CSz2PM9gDcgvB6awc1ExcCaIV8uKlmlHkSzcYBI/xfVWWfocx9M/IPhNXIkwaCwZabjelN5EUwt3eBoBJBYsrh2KMNCAItwXg/ynuq19vQYqT2Rz7Nvr2iIjQus6bKoUGDdoVQlo+G2U8GaP+fGHNciUibHHI2ARethDwh0yg/c9xh9/m+DwsR+S4QWDJlIO3yyHxWPXyGRB+JDea7dkd0O/Sw7BEEgr1H8O7HQPgP7eho0qfJSAVYDfhgPpVzbbv4BcyzgTGZkqD1CZbCPSWYUImCcS9qUxrOu8D8/jWDnJmfKWi98J4eBw3dW4YCb2mkZg+aJd7hGPOJlGRw0nqdDEE1GBLq7imJ1jbPvJGnfiHy26oQmD/iPl/TWAlMHgISiWfnvsiE3a6giknVpfBTtPR/vjchwmCohqoUSzmAdl3EehLw6e0Lma13niYoljF31zuMAvNpfS54ScY2g0XqpbnyctlgQOaT5lvIHCPO/NbWWbREXSl8kN3vd+S6qfC1x8a3dllIHyMe8OUbPl/d0YriMLV/ONYpZpyaXFFdOgBVs0ET4hVIwAclTvbu+mQWhRHtr28YLuaXlTW6UYNhq1Y1JZ2Xay3zibktGc+du54EfOsfnE4RcLmcaY71y66KmxHzOS+o5d8LBCzfPZdGDClERjKzTZg6CZZTihFYDUdDyroLqS9Y0acT/1FV5bS2tua+5YgGIl2zbyyxxJX46dEHYuhGntRImDF8/OGMOZ6mF5NS2xWBzvvmKQtJQBOGcl5EM7SdIIT2RiCw+GeJvkMUEvMTmH1ahVy5haTZ7w86LManh2DwppV+/5LfCRH9gDG2d3X1hKRzCRYKEjB/Fs3IQVNtIpKtoO5WFtKExzP5MFQLd5JSLHK5/Cl7CxcCkpoUj77kJqfZM8caMmL5+tSg6VhEN7T+fJjgpOP+Ct7nWxg+FLjPt7ChwGL+BgyL+eswGIvk1MCUkc+vqqo9Uwh+taLIUtxqp8dj3zyrRKRUwoyJFr9/Tt+SR8kxTfV6J92Me05BkEQd1Sk/45RCC+QyGswR5Jyd39HRNOTyLUY9u/gfyG8vxqQDecV1oJfIkEVQ2m+R95EoH7WHp4TH07Ar5/JBIZQJyI/KBkWh8tH7yqiZ34uapvxuqOVgCFVV9Sfi2nnIy2fQLRVizyHE7ycG3nlJIDAMAZ/HU3cC57YHadAAHtIKrhwZDLa8a57uB6/3T5spir4Q8JY0g7qmRS8JBpuvMU/rQC3iGpybabSKyfcov2QdGT2eeuqB+ghIVUQEByO2i1+fx1jgsOd9PG9r5AcGK38NBNYuVzEQbnfDTDCUFkR04rk9kYhro5UrZ/VNMGVMBMF/wu4YPI8aaGb4/S3X6ycH4Tyn11v0MPL6NR1BGP4VCDT1mzqlsrLuEFVVnzPeVQmiNnB0oi+DhJqa+gnhsPJPvOuOoA+TMgolaq43Tw8LkjK/unp6labZ24xLxFwUpNY4kx6oazMU+lZaeCkcjk6220PQHtdXNFQThN8z08Yjrz4+jtFKV1+CIVtBMCBEnISo2+Vybfzjj2uZODQabV5v6CsQmZbpecnvbzoQ5X0K+R2BYxrxmtEyHaBViabZaLLKMbj/RFigJ4ToaUd+RTi+C1rZbzqZoYB3pWHcj3DuBO1C23V1Ja8V5IKkzKdeMsZedPN0zGQilJc3VNrtkgYyQpP0aUm/BWGnmKczhttdt5Wq2lFVonlpdMvxHwjlEMuKJYfPV1cnJW82Qh99LZlfBwKzHzfOZg4IEK0Jsx82HNF4v/DOoF1WC++SVVu9OrQYedVomjqhs/NqfXmVfCJhwIeXeIXcsJSRtPxjMtBazoxph5ILIMC3T9N3sgSZfJjDS41xa6IzF8YTOjpaWiCQeD8SJLEgF8YTHI6iQyGU5Brh8iKnZMt4wtKls3oYi9I3FkVVI5+YyXlFAubrbfsTSbMCgZK0hhyngjFo0DAidjuZ/dwAun5saJXykpmUEyCQDxrCyRL64kzQ2rqwFz5bj19stp4h+/APBb//2g9JMBmzV1CXdzM5b0jAfL1tn8wNzGzoSDMxa3i9tT8jZhEikV5afTYnIFreiYQJZfyFmZQTIOSnGF8v5YFmUtaorp7gglCOp30hnBSs5gSPZ/quxCKUr/3HH68Lmcl5Q0Kzj4DqQNJ8zvn86uo6RNLZYezYmVSteRK+z0wRfzd3ssLYsdOnMua83BAmXuY1ZqbIGrj/Ymi+vvAV3NyOiAF+o5/IEvDNL0Jpqg3htN9VVVW3h3kqY/h8Z5fCIj1OtAuFXNuayXlFQuYTVLW3GgLQI4T9M0Sfs83ktEHRPojRDgOI+jfbNBqNgsjqJiB4tKqqYU/zsrSB6P66aNT+OYjxOaJzVIXEVSj+XshPwiS6zcvSAplQ5IfoXG+zeMXM72kEfI8hv7dopIt5aVqYOPH8CuS3GiK0J2KcYxCTlAmh+aW0vwXapVxrMxFgLY9HRXEVmD8OdNt+zZpZoGP+kTTaj8HrbTgWBLoPjEPdONoKTTkuHA5/tnLldf2qVpWV9eWqKjZFlveC4duhloAoil2KoGxAPb/uWmjHhRRQChF+XlVZrZRFSzo6ZukzTsZAViMSiUJI+MO4vhhWYxVq8rv3X4d3murxTHoZee1r+O3w9ZxHb2xrK0VdPX7GD7puE1ow/ChE9zeSZgLf22xsl/gOqfQOnCtf4h3HGtewM/D8p/x+O6q8a8cIGu0L3Rsjr1pUx/5g9BzWnoDF7Ocmofm/0DTlcZQN5ddWcC6ndXdHP1y9uv88/NRAZbMVTRRCuQ2025tGCOH5c5BfnXHF8GBI5scwblyDJxwWMLO0dqdudmHaDMNBLoICEyIYfGerqvJ92tubFusnkwAmdi9oGgVZ1Bpn5hXLT4/msVFgJz+ornbtuXBh6ulboHnngGnQMmJarGxUzli10OAdfPL1qHdfqB+kADT2AeTz28T56cxBmgpTL34fDDZB4JODGo9w7xvIA+ab8qOZNYx3pXIZ5aN8Fb/dzn8GgUR1dviRhubXX4bqxizal7L3IcbEHETwH+knBwBWYnO8zB/hl/XF2qHZgxo4jMYU2xEk3XjZWVKqdwWD11Cr2iCQgAjBZoLI+vXAH2BJ+r6VT5jQUNndLT6Ef0XtJEprAkxXVe2hxGszSuZ21/8aAjKXc9skISLdYOr+gUDTe+YF0MAZB+FZT4IxRWDwxwgqL4H2JazxGAxVTsK1TcgH+9pnJSVFu1IVzbhCFyDQwn4DCQ9o909Yitnxz4tHdfX0SZpmPwu00RvTUL5HAgHXCfEWJ99Iyny8HE1q/AUKD38YTnumqRjc7obdVdX+tinZ+2MrQ35PgkiwkXLrTNsPaBJlRPq34F7U71vcOL4XjDwF+S30+4t27G/mhwaE8Fla7B9C8xUEaktYjq9Rvs1QzochsEOsVtofZgsftVhuifJd1tvLb3U45A8QMhKi4xBTpJzTZyBo5LHd7kDdnqyEdkw63zayQULmU6QJ8qwi80aBHzQpq4DDIIr6Ax5TaaTI18G4rFc49niax3C+aqXhY8lsajlN0gTN/APyudMgst52sFsyzUwHCNTugc8+lQQeSqPY7XLCsmXZtcwZcxuGEH+QlYpO7R/r5Acxx9MPUpa+RAQBkQ/IlvEEMr8IoH5GrVQEBD8JV31OF4FAPYK+sPmNQfs+F8YTcP9deM93DcbLt3NhPMHlisLdaWA2fVAMH5Ut4wkU4yBAPZgCWdSWsm4pTIUEzKcWPlZFWh8IrHjdTMwaRlclw22VlRUNmtwgU8APQwN0LX3HTMoVTxCB4VJyXg/vxx/LelE21AxI89Wc2iAIMPeLaNYXlM9FVtRMzhsSar6BIWPBjKFpK/Ofac6QeSzTQjOv/L+mEKG8Z5qC+RbWdyRg/uVUp/odqnSHKsod2cw0NQiIHQ6DWf2lYRZzg82mvouy/RJ+8GozKSfArz6MiP9w7CWdry59zBfGnH3y0PZ2R6eZmCPEoUS/jo798962b8GCBQsWLFiwYGE9Q5p1xWmqokzNf2V1vUH2CxyMFlIys7KyAdUnMRO7Y3GpxfgkAGVQFZZP+Yf5W3s+kZSZXm/9LYzZzzba8ukDB20WEoGZ3/SFCK8GnXYJBObk3CF1uJGQ8R5P/TzG2EXUziOEdjJj4p+cF1ucTwDOV0sh2Fgp+YMg5+5g/E/QfL2jZiEjGeM78AJlYP4efn/zh2ayhSEAK7mQMcdWQkTOCgSabjeTCxKDmm5LS2f6OHd44beWW0zPDIaVJIiMhl6NBgYx3uWKVhh+nVmzFGeM6HLDiOpLmhU0BjHe75+zSMqwhMZ7aF07M9lCGoCfn258n1deNJMKFgm+0unhOxW8Ihy24X9e3of9rI/weuvIzP+WOrX4/Z0QgMJGwuDO7b54I8ai73Fuq6FLEKwshhRTZ8ek1b8NF3oPoU04tztJ20GrIZdWLQQkZWRNTWNxONxzD5h/rNSnCtV9l37OQgyx9g2ii/RHo8pBXV3NH9OZQseQnPT56g5BoEejRv+hqtFGKVWL+yY0Te6AGtBfoeWfBAIt25vJ6wTSZryU8m68HE2ibMEEDQpRFPsbUkYW+P0tu5jJ6wQSBXcWNgBYjC9A0FrC1MV6ONYUjsFifIGAVhP1eGqv8nrrv+jqKl4cjarf0j8N/aK1CmipFPPSvCBPPn6aOnHi1IzGoGeC+MGK8aChzfSf7HxMYxYtuomqooM+Mg11/1DIh493u+vGqyqfpSjq72PsoLYAhI4os+qgkbsxSBl+iHN+6VAjltNBzhrv8czc0uvdNLpmTWjVcG0eT90q83H9sGZNz8rubi1EExmYSXFotEFjPu7qKmqF2fSZif3Q3S1D3d2R0LRp1NFk5FFdPfPnnLMfoFRgOjE28jiqzrv4/Ytsfn9RCf0rSmQHIcKPGHLLThBCfltZWXsYXZ8LcmY8Y9FDDalUbYzZ876hiDbOXaU0utd44lrguXYar9fVlYDvOmQxfkqkdCS0bHQvbfOHZaxqakDTf6Npyks0pEtK5T5Ni2zs9zf/2u9vWmCspEG9euZrHR3NH8PSHseYGIvr7gRNFJvN8S+3u/4UM6uskLOpN8aJO2+Qsvc2mLuzzeS8AT7vB+Q/XsrVW/j9135tJhOo7IPMdwbI9f6sTT0JsaoWfykEjTORNMPIVcaZoeHxNJzJmLwNNIHQrtquvf26rCZRzFtwB+GgeUuGA8mEMyemAbnenyUa4bcZTLq+SGNGTCcY3/nFRUbzsOM5Y7h75rCi+hFGZWXPbopi21KI6Nd+/+KMJ6Ei+P1zroPg0HzA44QYk9X0bhbjRxick5+muYGUuYlWxUoXmibnGH39lHl6QoawGJ8AVVUzq1GT+ADxxRP5bEQpL2+s4NyhTw6JmOAuPTFLdHa2PEqdYBH4bkoTWJnJacNi/ADQ9GiaRpMjsR1x+D+oEuY8JWwMNlvPTtBVxEPRt82kHKG9TPn19sp9zIS0sU4zHlq5zOOpXzN5cr2++mZ/0BTn9W/hmm/S7Unk9V5cw7n8CFWsamgTzf61CtWnA/GMV8xJEoesBaWGpCoZGC/jaydZQ0r+GcWoyHOCmZQ28sZ4VDHs1BJGU4XlayPmgUhJywitLMFGdfWEwL1FdF5K55AMo+dJqb2F6zeBRi5C1XXHkhJXFYKoINJ+5vFU0szYOdYE+ibByxM0871ExvnmoyDIQ58v/tjVq0Pf4eW+ydfm8YR+RBCkzyebqB8A53xzxqI1ixc3JVhEcFbU4YgepKrRHZcvdyRdCpxQXT29CoHSl4ypE/GsLx2OIv3bOjXlCiG3hwD1cq4eBusRmzsnK81XVdmG9yGB3dRMygkoM+IFKgrLePKlnBmvacq7QkRAWJnuCo4VKHA1CJBWXz6YsQ4hwstRDRq0OHB7++y2jo651LM1oSa2tl7rN2bzSj6RYHn5+RXRqPpf7I6Dpn+KoGur1tZZ3cZZfY79H6PRnrGofnXABewH5j+lKI9mRTcI4YcGyWmK09wBQUVVjiNf8aaZlDZyZjyiyzdtNo00ZbOhtkCgaAIY/gw1O4KhDUVFkUmJrhu4FRWFJy9adFPO06kMBHUvs9tdn4KAm0OrF6E8u5un+mHFihu6wmHSrmgYQnuE1/vBC+apjECCCNfxBTSemmz/z0zOCj5f/VH0L0Tvt4bwZ4YhTVZ6X+fSBzTmUVRBpilKz+87OlpSzhU73KBZr3t6HAvA+K2g7QuECB1ACxGbpweBvqShHv4JY45KWLnnkdTEue3lTJpskccv4DZekFJ8Ewg0b24mZwyvt+5d6O2uYP2xePajZnLayFnj12XQogF+f/NUmPFvoQM7c16ccKWuGMjsq6q2MVxPN5T2EAS0fzUmKk4fbnfoNQSR+vSqbnftn8zkjEBdueF2dsWz2xkresZMzgjrNONpanCqd8MdZBVsxRCNkubIxSDmFqgCooqUvNGGZvFUVb4tXFUIXntjCmwzAbksCMzxYDx8s+NK1CYyXSXsDJRzHhlrIfiRA6eGTxfrNONVtXyF3T6ma8KEmcm+y6YFWnQJ5nJTmO9FIOjWXm/xx8ZkEIlhdIQQqG1onaa3TNCOkBy0yBFqI7+BixCcO1ugwfcbApwcdB5MvwvX3w6LAc8rTuvsbHrLPJ0xRoPxuopomsi6nToGs6cKGOfM05c2WidHoPbAofmTUg4YDQTmrNI0tgOuj0IEp3g89RkFfO3tzf+E0PwcbqMHzzsRVb0lYOzTyOd/S0sb9QYnWqkDQnG419vwD1VVFsFKnCZlGBaD/dLvn/1nPaMskXNwRwvtqOqYd3HeTEkFGnVCvaA0icgez06v4wvd4/cvgvmdHz91OZU9TwyPBzVChT5D0LYpBOsLVMF2JfNunhwEn28GjY3/HO/ipk4dmYHaJ+IrK/Txhr5ukz7GXo/aSGhAy9pXpW/xxvkYaBEmbQG2e8CrJykWMU8kRc4aj4h4T5isGEOH2GiSXloVgphOSHRN/40IQ8TwejfWFxqKwzAwnTCrJxBYsgWITe0GW2maLeUEylSVstlCW8L0goOJ3yH5Zkx9vnaLdWkgo2icJ1B6/HVrz8c2AtsZvLgFQedXUNZzzcSkiBebhEi/B07PHfBdOU1XngjI/0fGXBsl6IEzrCgru9DtcNhR1bNTE+5nqO/vHt+wU0gg/6+qYm/w6RTOHagq00wmvSmXSM2bj4e5G6Z4YUjZHBbQwkwI+CbBmpHmbxOJhHKa4344QatjQ+megWIeAwu5sxA91ND0B7e7/jzzkkEYjeBunUJPT5Sqet9D86ci+ELA11jQNDNqDOwXMPuo9dhvrKqasZ15qh8sxg8BWlbM718ymTQfxNzB6+35RFF+Nlz9C/MCv7/5NSGiV1BQqGk8YSORxfi0MJ8qztAcWo6Eb+3x7J6yha8QgGDzLmyISRh10hjkL/MW3KE+mvF66+nA661HcOcc8eAuEYwgSvkYUfZEWIBPQZOMV9dG1C38/u8W59LfLj1QR5SepXBR48rLV7gGfuSyND4DGEHUYtTvo6gns20RQH0Kf/pJJhtI/rnbPWkEZsDUp1nVRyAFg0WT6T8eeazO9T4mhHKpzabkzf8JIXtQW3idc2dVIWh8DF7vBTVSOmlY00ZgPvy/DGGfypZSkcD4SvyOhwnOy5dOr7f2Js7LzhVidcL++eDNR4w5tod12gnn+7VE5qzxeBlpNCjwozhXFwqhfpKvTVFsX8M0VoGoyF8dpgabzOH3X98Kt7aflNoJFD2DBAvByB2wbZdqg2JcYpA8rWbONMBCUvYgN/wkhqnYg2euy1njy8vrN7HZ5JNgUBrtlYwkZDz+x0Dql+OeLkrUTyWFPrnQ8kBg8YGJ/eKjqtv9zhaQbKOZK8+QMsyDwXkJ14QFbTIaQuXz1Z8CC3YvXAXioTk5x0PQ6Bb48FohIrXgzVwzuQ84j3jEsZ2U3dD4a/tpfM6MzxSoCz/Euet4IXp+i/weMpOzhtfb8B8EWwek8SpZA4FrOzS82jzsw7rM+NEI7vQYgHMlTwMVZBkIL4k5QvS25nODti+jbxCwTEW0HKj5wPUC60FUD1sklbCqcvKj4/K5ISBC8FbQbTVZYz1gvAFwn5b+HgYUTEyZV6w3jLeQGUaJ8ZLq6E4aeePzNZZmv51dCjM/KtOYrOsYccYjULLRxwPUf29bsyaMemh4VfZb+SrG2E5m1hYywIgzHr74FlSQluL/G9Tl87AlbbywkAIjznjUX/9D7d2BgGtqPjZo/Gdm1hYywIg34OQbXn1Eid7b9SQIQcaDB1NBCB7hnL8rpbaqqsrlXbhwVnxnzwJpwLHVIj/qa9evMUzTlCilce7YtFAacPIMvB6oj/+HEej9N58bY+JtMN14TIEC7g6/7OyBZedcoSHf5qjcwXNPrvOMhyWi9d9pRQ3a/p3/Tf4H25yB2l44oG8Z8hvsJCr7C7BGf/f7XZ/jODOQqfd66yWN4jCTLJggU+/zXSJhct83k1KCTL3XOxO0rL3TTEoImneHevnSoE4zKSHI1JvPN1e/Sh/rgalf/9DV5TrZ6SwOhEL2i82klIBpz5iPFuMLEkwz2joU6kUzLLAYv4EiA8Ynnm5kQwY0clg6f4wEhqzHGzM4MBoJai1GNACxxYjyXY9HsPZ/YM3d8N6XI99ZZvIgGPX45B0xUiEpE6urZ26jaeIOGIW9jD511LfM+h7SHzTalfqzcapPt6NadXMw2HKlcW4wCp7xY8fOnKpp9s+lPgJWrETU6Melhd2SMWqg2ThYGWPSDQGgefmuDwSaLzRP9kPBMx4Zvo2X2B1Mn6Oq2qxU48MtGHC7Gw7iXL5IVrG3V2y2cmXTIvNUHwqJ8QmCO5pP3bY7JNdvtxddbjE9PQSDTf+GZbyeSOp0yqvN5ILFIMZXVYW2oGRErG2FOh68UCGEhJaSv5cJ58srJAxiPCL3VnOXJuOxIvgMwDnfwQj4lCGnIhltDGJ8a+u1AQR1P+AFNqqomJnxdNgbKmiBQAR4txiMF9eZyQWLhBrt8dSfg/rpzRTVQ3rvxcu8w5gV1SeH3EhK9lvQiKZgfd/vb97VPNEP60Q9Hpk24vQl2OwJDIOFfqBGTWrrkN9HIkXbr1gxi4aGDcI6wXgCzNckTVMPwmU7IGCxQaKtZtsEAG06hFCe7exc8k6qce+FxHgLIwhifDrf44nx1AcC/7C6yUGMp+/xHk/dDDMpbVg2fAOFxfgNFBbjN1BYjN9AYTF+A4XF+FHBUNViaZ4f6rrsq9cZt8XT4n3hsGMS58KN20tRh+1GHbaTc9tSv/+aWDt/2qisrJ9gs8nxyMfNGHNpGl/JuebH/7c0vZh5Wdrwehs2VxStBvXlCpCPM6asEEK2eTyhRZkuaETdm8Nh+xRNk1VS2soZExry60Q5l3V0DP7sOhS83lrU3W13CKH9R1HELZzzwSMddMgDoJNngCbz8by/m4n9IFB5x/2noh7/KyHCdYHAnDnmqbSQNuNpFUYpow9jd3e8OBVYNW7XhY5mfkRBlIWappwYDLZ8QYmp4PE07ApC/g3MGYeXcyCvOOsjo0jHxp7bdlvXtFdf1edsSwnUaWl4VzO2EuRFI2vMd9PLR91kepDfTYFA0yWUMBRQN74e7/l77LqwUX74o7zwplKJIPfVQvAzg8Gm+UhMifLysyrt9jE0xIkaw8wpNvpolyVi96soUTS/LXcAzj/KPZ4FLYzxi2iueTyE3vxNSORXnEu8vCwGgTZF2t6cO8BAmlhfu1dKcT6kUJ9gLx41NY2wGKF7OXcdQddCWrtx/39x/1I8rocxScuMbMWYbVd6PA0RgoDM7OhobjJy6A+3u243MOFuPHtbOob80fi5BdhbhjwFyulDntsz5tiSCCVEtA3p50I4E2qSx1N7Eu65FcpYajy/dyEE5mPc68dzwDS2Ee7fHc+rJk8pRO8HOE4k7DpnPJ76K/B+l1IHDWM4lnwb13/JOVsJS+lC2SYjf9DOVgTa4jzJv3gQRe8w9lMDeWuwSFdmah2HYjxJ/gJkvpNBBHFnINB1rqLcOXjiNCD2kkRgvNx3gcCSKfFNmFVVDZNhomgVSY7zNLz5IkjqbcbZ/qBJE9as6X4Q1x4Jqcb14s1AoJm+FvapSUXFzH3tduU1nb+K4ocmTsM1r+gnB4CerWniOZRvM+NdlHOg/beapwkM73odGHQ+CI/iyY9UVT2UFjU0z/cDjTASgj0AYfBCqEiAfz7w2cjvNSjLvsaReKCkpOgPtHqlcdwftCgRrm2hfZRtucPh2nQ4+0OkYPyjqte74HVo3h7Qknb4zJ8Hg7MTzvcWD/LZqqq8gPu2gBv6TsrQ9rSWG60YxXnRYkixB0R91m7nJy9fPhtSnRqVlQ17wrI8DYa5cd/DIO4JlA4h2x9pLxteJ3x1R8fixnTmhyWXwJjzTrI2uK+uo8PwjSD85Sgz8tA/thzv97f8jdJTwRDO0BUQzFrcF4EAbgsr9xWdQ/me4Vw9FFrehXMH0nTi+k0pYC5zgne17wzatfX2Rreh2bPN03lFUsaDENNRgLkwP63nnls0ftas5Mt0JgII/Dmyn4rdW/3+5nMg/bSi4zYgxAfQ8p2Nq9KDxzNzS5j7T6BZdpjWs8lKgLAUZJFbuMzvb0raszURfL6GgyFEz2MLI2ijKUk3UVX2OjEd+/8D4XrKvDQteL31fwHzT0aoE8G7OmANTkVYcA9oFywrUyYvXpyZGUZ+tCjCLnAB82GVjjFS84uEjCezCMn7lmKaSCS0XVdXy6fmqbRRWXnRxjZb0feG2ddoUN+12JaWlLi2TGbuUoF8OTToHeSFmgP7BD7xEPjzd6CZe5iXZAQIzp0QRASE2vsoYxB5Hozki8C4rDpRQNBfgjX7ObT+LxDIU1BBUTStdw8EfynXtEmEsWNn+qJRWkyQ4sDovohvIJT5RcLoAX64lvwmzPRN2TCd0Nl57Q/wew20jxcA0/XgZk42TCcEg83v4X7ymTXYiOlCVbUDzdMZA1qNqpWG6h3bBWWDBVDWuFzh283TGSMaVRAbSFT31FPoGLR7IBumE8gFgv7nkF4ieB6WZVgTMR5WgP0M7A+j+DeZaVmhurr4OjBrFUWr9Ck/EJh7i3kqCzCJSPhGio4Nk8xeyLUHMMz6ZfQPDaX92bTkqH4iC5CCQHgQs+gxgkCWCYPWdIFY4VZ4ok7sjq+ouGSikZo/JGI8oma2FQjbpapimZmWFRYupNGe8jOSJQSIQwZLQwEm7zGjyLqHiq3lnjUgSM+jfAgIabnPohvM5Bwg7iLBhACEw+HeIQPhNIDgmjntdjHePM4bBjGeVkwm3wINDeXep34W6kXsJ4NR+hrtOYM6ghJxKdgzk7IGzHMnMQluY1W2a7TGAy7o36ZgRmnpcSM1e6BstOQpgzWaYCblDYMYL4Sjkv7BsJwJYUIXHpi+gH6UI0AEBGI6kZMu950ubDZNHyOGPPNSXxaC01Az7Ml8DULR84G7zGjt2nQwiPElJbpfIUaV6gk5Q4xB0Ylh+nqpuQKmz2fmlzMxIhFJM2gTDUr0hBwBK2QuqsDyRDtFn58X75yz9RiIQYz/6afmn2D6iLDFNGWomZwlGjkKvZGxLxEw5g7U5ceZLXU76Ak5wGazuWFInZw7St3uxjIzORegSqgHdyrNYWMk5YQpZJCghKgW5xeDGA/SQmTlQjCsQsqycWZitrDBZWxDWgDTnPGKTQOBuvJxJmGxUc0jN+AdfwkSgAb0PSCU0TruiSFPgVlGXorD6XRtZSZmDeSzL/x8bzQazev8fYQEjNfxMh5rx4tkPJtSPLzeUD0CMfpahiOG44YLjDPZgFZ4ZOcZHzII7Bc0esU8yAqwateQEJnMqqupaSw2T2UMr7d2J+QBU09gXAgt6fKe6QD5XciYnazQD9QmYqTmDwkZTwQxInv7GT5ffVbDqHy+Bpgp9QpoOo4ENZYgiBIN06YlX5A/FXy+0C9A0L2gAW0o4WNUvmg0+5oCCPsXs+r1Khj2LPJ2RCLdOQg6ux3kVIWgYVQcdsRxLCzUoebJTMDoEzj+5mIDD9ixZnpekZDxgcCcZdCs80m78CJ/p4X2zFPpgqogj5MJFSJ8g9/fchcI/BEIXf3SS6kX5E8EaqtXFPtzhhApVyK/oxGHdIEoO3o89ZfrF2UAGstObevQ9N5wmB2FfPS2fsaKrqSpX/SLMoDHU/cQ8tsVgt0TDLacy5imm3zk+De3+0Izxkkb8GMR0I6+YIYf9A9YNixfSMh4gt/vvBnMe5NzWzW84JfUccI8lRKVlZdsDGZ8BY3cGu+wtLS0SG+2RdVpP2j9MjBvW2jCu0NN3hcD8voVomVqo4d2Rm4OBJr11j8I5KH0ZQ75NXq99Q/oF6cBaPqf8D4vMubEvfKsVauaAu3tTW/hFLXbk8d/Di7pj8bVQwPv8g8IzvG4t4dzgXiGGppa7sPxUxCGMs7tn0Bw02panjChoRLvSwsI7YZDPwQx78uyx6A3gaUCiAqisD3ItGpatNlul7e3tbmWKUr8FJ+NtsrKaI3NFgEBHM2GtIsvIK30dS4GVlExfQIiaerEQb1uAHGqlL3P+/3XL8cBRWw6jC5Pzhow9zI8lzST3M9zYHo/02l8ZRNPg8CIR7SfOJcnh0LqR8RM8xIdFLEzFtmcsejtIOrOECCKlM/v6Gju1yQNJjahbIhLbCRkEHp5pqZRv4L+HUqo+1k06tgJz34Yz3ajfN2owx/V2dn0nHmJDggQYiVlf3IpQkRuUlV+fXu7k2gX972ikbvdkRpVjf4aVu0mqrFg+zYQWAzazR+2aVSHZLxRsFC9qjquIdNP5gyJVNdvBfHa8U+rJ24MxlRA+4qNl4xeHwi4ECUP7jLl8dSibsrugyb82mCoWA2NoXrqD8ivC/mMR03Ah30PrrOTVsP0/b6jo+kv2OkTjhhqauonoD7+KhiwCbkWXNJJzc3Q5iVwL3g+m4TEShzTHDWwcHJVJKLtt2LF3I/0DAbA55u5N8qE/PAiZFckNTxRfspi7FOPmYk4rqDNfNevUeYDYeITjImXDK7jj6rqut6oItP3DxZEOq25txz5lePdJ+IfgslKyZUhv7sDgaJz+itW/pEG4w3Aj81AweYYtKcZM8hL0O0UFRPBaaO06M1+/5whI1qYtIeRh1k9G5gfWQydxxH4y+M7OuY+RgfJQJ08YBbfA/E2N/KI5UfQNQj/lK+yRkq+21AdSiCcuyCPl8EcvftVfH5GXn39Pd72+7v3V5TUnTi93plwIzSDGGWWinbiPlhJ/evecIOenhLjx88r6ulpp2Wzdf9FhRZCPA+iIBKWbVKq0HhxEIj+G5NZhGWRCNtmxYomvRUwHqWlM31Op/gM96PqQ48nLVD+hhd/A/8roD3ULg2/zvY186Off4IgR9HBQPh8db9BGSAYRDw9vwA0/n7kg2CSOlly1Kflb1FuaH4fgRuR3xXYGQQI+Cw8W/9qZ+SnfQFheRRpiFuEC/nuhDxOwDlYEF2YQkg7ABr/tnHPWtBade3toVdw/Z50LdEOjIb5l3BPCgJomnWEwRUoFLnrvEBeHT092jZr1swjazpsSMl4t/vijTiPvm6YUa1DCFYXDHbDryWWcDDhaFyDqiDfDMQNwlDuE98JEVpOL/kSzDdDtE+MuRgROgRoMMrLGyrtdnEydufBL6NeHP5YytB+weBN5G91iYAPvRSvAAbSZ9XoIzDDLcm6OBn9/ZSzsTvduF7ch5ihn3YZgZoDLoiyjzQhIL19+fJ5S42z/QETjrhHQaDoPJwECqb8fLzLjeZpszOF9hpohxqJWIU8azkvejDZxyAKYvF3FdzHdrB4ayBk+6XTXStbJGU8NY5omo1WSB6HQi+G34HmpOV3UA/VA8LdDSnXamCql9MKzIpSjMBGbyz5MwKr08zrU4K0pq0t9A2EaQKY9Vog0KK32KGWAS1WzGhe9CN6KoDAB+C+F8AQFQT+M5ivl8Oo19spkAST+G6BwOwv9RuGgM9Xfw7k5GayJAgE90KAh3c/3e71VlI1DDUbZZnd7tos3Y6TKB91CD2E4gco3aS2tubvzFN5RVLGw+TdC2JDI8SnVVVFu2Q6UT9pD7JHpKo8B7N6KPJbhIBuU0S3N4B5GbXgmQv2f49ou4zuh0BdirKtALFhOcTJwWDzX81L00JFxcztVFWj6V0QrIV3EMI1CcLwTwilgKZtDkH91rw0LUD7z0UAh4i8V9M0xYNqHTTXdi5o9yMesVWmn3xBq7tQNhJIxBDNcBP5R0LGQ2N3RD33A4pEhegZHwxe95N5Km2UlzdW2Gw9y2EKnZoWbkY8XQ/L8Rk0TO//nimM3rtyCYpMkf+PnNtgEqNPQNOPNC/JCNCsy5FHI/UEBtM7kO+uEKi0etcmAvKDq1GOwQbXZTuU3AUEYNP29qbF5iVpw7C2KglNBcr3a1ifx81TeUMs9B0AOYMmPoKZrs2G6QSaBwb14BPJtOOf2uypMpVxK1sMnZ3N3yNoo3oyDbXaDtWe1X5/UdY9UCGAl0NwliEvxC8601dmy3QC8qHxBGHwG0ynWqzWkg3TCdQBBgKEGg/FGnptIO9IxHiyAnvBn/ZEo/ZHjKTs0NHR8ndYDb0xBf89RtepXCCuNer1BJpRO9e6roQgUns49WblOX2d8/ubUJ9X4I+JfNTpUqPhZlkDtHueVrTGbrnx3SO/SKjxIARpQVdZmW3IAQ+pIRm0VO9zh/+M/HAiBAJz/mMQlurC1GiTG2CBUAUT1MhDjMvDmjuMumzTu4Zh5WiBoBwh34DmO+E2cv08PgiDGF9dfQmYToRVQtl2hV4LfRhvGxEWjEprwZ6hgAAKPllvBEkr6k6FSMSOeEHvc0cth3oVMReA2YjoddpF8jEHMNwHjSfEOysj0efO6NIEKcu5T5sBqUe0IMagxpwsYbbDi5z7BNrteuMR9bnLult1PJAPBYm0N2iwaDaA5dDfkXOWj95B/TCI8VL26JE+GKX/W8gEmkmzfJGO5sInRPPOi4Q+3sL6D4vxGygsxm+gSMp4RJI5R7nrChA95/FdKat8ZRcrVz7LZ2AQ44WIfCtl9HDzS1bOQD7Xgq6Hon6blyFUmsbPQ/XrsHyMTfN6HahpqEdCyH9rJuUEu33Mj6huHgHG5yU/zm33MyZ+GY06Mhqvb8GCBQsWLFiwYMGCBQsWLFiwYMGCBQsW1lnk6WN/Ix8zprfS4dC8qspoGnPky/P+kcHC+ghDVqJRJRqJ8PZVq77tSmdiagvZIyul93hqt5CSncoY2wuHWzHGvUaPZQsWcgH1M6XR5VobZOtTIZRXHQ7b/cuXX51wOKOF7JCR0htL/8gLOXeeKfQuqwRwSZEhGIEe/NNQQeq5bnl5CxmAupnqY2eKGFOKcIyN963mI6W4PhplVyQaiG8hc6St9G53w8GMicuh8HuSNTaZca2U6iOqal+Yj5mBLVigKU8UpWQ3zsWpkLETaLgSQQjtjUiEnbJy5bdLrPA/N6Q5CeHp9uJi131gwJ6wxKTstHDOmQ6H65aOjqu+6+5+NcdBjRYsGAiF3g2HQq8v7u7e+qmioqIxkLUpqDoWQ+0rbTZlY7u95sXe3ldzHPK3YSONLvfTVLe7YgpUvSZmdaH4/kDA+chwLplmYYOFWTXsFELIu7HzvSGmDAZA7uFyrXbopy1kjTSUfr4WjRZRw4o5D5ZeIyirrAxtRq32epIFC3nHVMY5pxULEO7TpHMyIiX7qbvbboX2OSItpV25chY1oDwkRGSpYYhljaqyF7zenqzmPLdgIRVodiiPp+dQxuQtiC4pykSqXCqldq3b3ZqvBYE2WGTUeu/x1J4JO3ER587NaOYsgxnKQljhdxHyL5JSCSIiSLgatQULiWFMRYu6uw2yUw1vviUSduZchYzRsjIOnOt5TwjWHAzmOsGWBUJGSk+g1TWEiP4eSn4ONpqBHHWsWDbx2WWctYUNEvFfd2P7ejjfTW1HUPZZcCaPdXZmtnC3heTIWjOnTDnPuWpVcU00SksFav/LGL/EOEONfVGatOxdZJ+XeacsrI/Qp/QfB4XeFiH8ZMPjKz/Cu98HZf+HpnF/Z+fin6zPc/lHXtwxLfNEK/4gO06r6yMcu0OI7rpg8KY8TaxnYX2EuWzIdM5tx6G+jhSaMZNWnJjzjHGFheFAXlrfVTU+Hz00Ux2OUlrg14KFpOCcqoYyrq+I3jPPqhcOM6xPbhYsbGDIi1X1+eoOQd0MIRmF905aBOVuu129ePny2TnOkm9hfQbkZi8hlAs4t08zwnuxAD8I71v+pV8wqqCo43JsW7Pq6ndcQthrUMYaTVPHMCadnNPnK7ZKStHGefFPHR0K9RIUuEciPb51suBgKb2FUUOhKX119cxtNE07GLs7Q5ZpHZlxUP4qxuyohlBQnFyXpQxHoQMdqJzQCpSLpWQfofryvN/fRO9UUCgQpW+0eTzdm0opN7bZWKmmGU256xJUlYOWso0xbXFb29BLi/p8jaWg08+xy+E1VLzzsmCwCwJyZxr9HCS8z4xNolE+GYJVDrr1RCJy2YoVvV8MtUZuDDQ8Gg/eRggRUVWphsPyg66uud+DhyPmpUZf6WlRSfckeGtaDfUPnDt8RjkItPKoEoJX7wZNekFj7Ctd2O9EWlgIWixbqUB6JWOsCNc6wZdipBVBGnS9ouHmMAa4Rz6oqtrtLpd/0dKl9436uIFRV3qf7+xSRSk+Wgh1Nog+1ljyjZCXoo0QSE+MVdCk7H3T6ZTH/vRTES0zn9R4ud11W3GuLqTxDLQimxDdL5aUuI5ZunQWfY8eQvEabV5vzznYuZDzooma1t0DwZsPJa5tb5/dZlyTGh5P/RWqWnqpECH9+Yz1nvWzn3171/z5I/eJbLSUfvz4C4u6u51HcC7+BL5tDburGvyj9bbDX2P/Yc6Vf0ejyvdQ7lUrVjhXJVpRfy0eVSsrF5SCl6U2W3Rj6MJ+8PQn4Xgbypc6GSmKRivaLwaProlG5T9Gs9/BqCu9291YxnnoFNx/MZhfLWWEuvrR+pgfII3G5hey9msoXQms/cEQGBcpDyz7+4oS+a3f/8O3qb4xu90XbsSY41rcb8P9TrzrG3a7dmN6C59Ng5BNOghe/jDYh8lQ+ADyeAcC+lC6wuTzNUwTQp6K+1ejDLQ63o2BQPHLqQxVvjEaSu/11h0KmboIcnqQ0auUxEv8CDo8AYdzcyBwbc4L48VQXX3JJFQXTofSH2P0RaBlunX9eBu8u7ajo2m+eemIosCU3gml7w3CSj4WCLjOzX0d0uFHdfX0Kk2zfQBvASUmpe9NS+ktjLzSezwNf4biHQcDTUN1wSsFVSFBy6M/GAjMycuCg4lAYwmE4IdJyfF8ZQy1D+B9KTp7buLEzmMWLEinSpc/FOwnuylTgutEfC+lY50o54aMMWMaPKjOPAUFP4FzfWw+lF2+oqpsKpT99uFUeAJFbx0dc1D9opGpypPw/CEYOhf2D1+6tOI5n2/GpvqFIwTrO72F9RrwspOcTjETVZhDGLO5jIiCPY1o4uft7U2LjatGBu3tN7b5/c3/y5i81yyHHSp4AKKAOvpyYFw1/LCU3kJG8Hhqx3k8dSd4vbWXeb0z96VGRfNUQUY8mqbuDjGfjl07Vb/g5R/gXKnTT44SNM3eJKW83igP1fNtp2ua+IVxdvhhKb2FtFBZWV8OZYeysDc5dz2oKLZZENbXPJ7QE9SmQ8JbaKiqmrkd6tEH0hcSsklC9NB39JdG2sMPRGfn1T8wJl4UIrwch9Is395ud90e+gXDDEvpRwnUAOj11s+BIl3r9dbdDM95Gn1KMk8PgUaOeuDePl99A/K4Cf9XIY9j6Nu/eUHeQOVEfbiWc/kVY7wZ20Sa8Nj4PBnBv3qYlOxZXPMaynC4eRth1D1/NKrRBBxTDYNEn87kG4qifm2cHV1Eo+wHKZUXUTYUTh+vgno9Q1mHH4Wo9LB8ili06KaCb7kn9PT00BTg5lH6iEQUL8K7GZwXXch52TlgxQmcO6lxJx1l4VKqu0FczuO89Fz8NyAJdcVwiXk+Z5iNX7XRqO11lKsFyl5tnBELpIyeBq+5EQLVm1E3bcOzGee2faBQT+OeZ2jUpaLcUQALITAygmWkVvoRYwGUvyBmbbbbOXX8oQlmASqgHINqR7lxPLzIizXO3yc7R7UQkRAI8DW8x/MIgehTRgFHIzRLkKyAMP0exSzN5Dv9uHENnnBYnoFdKLBwwGN+XlLifGLp0llp9Nhq5B5P9054/q44GIttlabZvnA6e19J7zt/clAYz7k4DXnXokxQdF0gaftB05Q/dHZ2vRTfa5CmrIbhmgn+XUB9FYxrKVwVuE7M9ftbntUvTIDh/mQH43M05wz1eRVhM5VL+ydkal5Hx1x4/NFFVVXdtnj3Wuz+FnLDIfefwAjc5PfPoclAhxWjrvQUkkrZfRzuhTcpqoTCIJX0nIpGGzEr2T8hfp9Ax/Ggc9TfJP76+I0Qy5MQ24//H4jYtQQ6b+RP765paz7E/hGBQEsrrkt0c0EC9d9qTRMnYvcMeG19qioClJE6Sd0YDBbdn6rjTmXlJRtzHj4LBvAsKBkMoYp7I6TJrwghm4PBrlcGdjEebqVHFWgHOI8/MuY4lfLHO7XjXeqCwZb7zEtGDT5fwy8R0pOCj0P5GJzFPzRNm9vZOfct44rhQ7z0Zo1clD4GykMItiOYBIHR8tQrjFPXSRoVBQIrkyHMDjA/CGK/hed8ns9IAsJugwB/oar8vx0dTYvM5IKH0SXVcSbq7BdC+DY2FjLRNf4HeO7aTHuNUX49PY7rkMfxIK0+ky1FQEKEnwEProfCoR5rYLiVnuD11h6P93qIuneTbErZ81dV1S5HRLTEvGTEgQhkPGQS1TrXRdQr0KBPZEYg0DzPvGRYUTBKP1wwwlV5B3YPB5FpkMvXOL6qo2MOPNeGjbKyRrfNFjoBdckboBioZpA31Ghuuv9oGjspl/7h5eX1m9jt8mTIRQOF/Ybnj8KiyDeE4LODwaYXoJCooigz8eyjh0vpqStsNBqFt1fOQxlUlEHA4D96wAGLTxzJcQbx8Plqb5CSUzuOPoEI3v1um029oa1t9mf6BcOM9b713uWK0MfQ+PeEoaPVNhs3+EUTVq6cFUTYfjsU4k/GQBPyymoxwvNfwTC+6/HUnqQoJ1PjYsZYsaL5OyjvLClD1Yis7oUnC4Du4IW6v6qqz3s8DY/i+NDhFsG2tquX0Dp4iChQzdB6qf6M9zzy5ZcnvQCHMMG8bERQVnah2+2u/yci2tPIACmKFkWV4+1oVLtmpBSesN4rvYWhMCva0dEyOxBo2x5CeAa2xWQXIZSbY/ur11u9wOutu8i8OGPQPIkIW3/PWHhbeLSrDUHXkL8yDc+ZRQpoePnhAy18GQx2wsDI+2F8VqOaB0PGDoDafeLz1Z9jrJ83fKAqD3VocjjsXyKqOpK6AgsRpSG7j0vZfciKFSNb1dDDi1xRUrI3TTjwW7wEVW0pjPsAddv/rF79+qgvezVmzJ7Fmsbp+/FmKBvq9NEgBO717m77p4ry6qiEdwRqvXc6976wuHjv/YuK9jkINKzu7j5oEcqUYgjncOLjaHf3mwvGjNnjzwjJA9QGAjp54Bl9OHkIynl8UdFenfj/LhR6M+PPqd3db6/GfS8hjz8jX0QTcjLErwQyQ54XV+jf0ZdzLv6NcgxDm8gCEQq98dSYMft8iedMgkHbCImodjgPw7OnlZTsW+Z07hXs6Xkjb1VSVF82Ky7e55RIRL0JVcuzUX0pMfRD+wRVjEthDC8Jhd5Na/6DfGID8fSJWtHHjWrLem8vTR2uwPOpV0AgLsX+yRMnKul+px820Cc/hOXXQiA3R+g5Q8oIvJAuJltAYB9A/fwdj6eexvJnhUBgzjLkf46msU0VJXozFBBCT68sFc7tO6G+fz6qFQcaV+cf7e3N/7TbXT9HPZ9az38wGtI4deK5Cp7/I3jk5V5v/S1VVdn1jkPksD0ioxbk8QPo9jnebR7y356eg+f5FSUyjTHX3sFg81/MW0YcBdGQR0MPNU2lz3Zb0jdrECsvrfeMUdzISkHsA+BdNoHQ2uHpu3D8HtJp3HQex+tLFcztQN3xrWCw6d9mYlJQ/Q7h3u+wy2H1UdcVXwUCPc+mO/PNSIHKCV4ej3ebjqKSh6RIjk59DvrOczojf/vxx+uyXt+ARphJyc8ADc5GmKh7Quqrgf23IAukNHn7wrIWeBpTaFILyheyQT3hiAcxP0ATm9Dw1yg2sRQJUGAFsswgOzSbjoIqCvFbX0+/HGlkwMcjH9DHDnmiYbskwkYEg2OSs29x7fO4L2I8F0drIShPXN8NoxdQVdmK+5eoqvgq134XiTDqSm/Up4pPhgBdAktfbQrUOgIi39qAwXj33g8iEdsxK1fa4CFHbkKKkQANssFbngKlmBQn0F9AQGfDg+f0NQTefQyU5lbk+T/YzDr2qAZjo4CYOlKbCu1TlSfyExzJA5zzeyoq1ixdtCh3p1AASj+wR154NV74HQjSvbCKPXjZvLQ7DAdQvjDKCisvm6EIlfS9FUnr9SQa5eUNlTabOA4yWY93nmiIEL2mRD1V3gHlh+Jmj4qK6RMRTWwJb1eBvDcUrYfeMBeU2wPnRzTdBvqwB/ShqH/UIJfh3GO45s8dHc0f63dmgQJT+viZcyaj3nhGvx5chQgakLJhzpxDk0pWXAy+/Q6h8GQjAifhFAshvI3BYNvTijL6k0Cuy/D5GqZA4Y8HjVH1VabAMDhIxuAYe5AGp2ifTSP2jKvTR57rSvnDlCmfFWzZ4rHhzpxzZ4S+wwcCbVtD0S9UlOj3VA+GSE1FdDbf661+x+OZkXWDnwVFoZ6doPGVgUDXDvDu5P2fpuovIiEXaHyWqkbe93hmHmlenjbWCcWyUMi4rweCeX0kwncQIoqQX3xHoSg80nYQzpu93rpPfb7aaTU1jcXmDRYyBhnYOd8EAs2/QhXqJFSnQGOCrQr7t3o8dTOM4/RgKb2FvIA6wAQCLS0wANTId5mUke+pFdyon9oejURCb/t89acYV1vIFlD8B2w27Rgov5/aUlAlrkHYfyyq2L8xLxkSltJbyDsoJFVVbVeE/Aj7JeqcuuffFoJ6D7zSB273jN8pa6fZspAhwuHSrziXdaBrgGiLbSeE/jRMOy0UbENeZWX3efn4PDHcoCGpQtBAEWsK7CRgXm/t1fj7LTz/BENISezEV9j/ArymiS2G0QDo376i+F0cibAHaUyAkb5uo7KyqVxVgx8z5phIx0KEFytK0b6BwKxl+gUpUIhKDyFQ5sNbnGVcUdigUXyqKj+HQFtKnwJGZyTHyVD06RBU6gIL6F4KNFv7Zc5sDMS2Ni076IYFeRtdJYzONpHbhFBvDgZnL9QTRxFe78U1kJNfoWTT8PouhOhL8c5PQu4fNS8ZArTKUegD1Ou3Nd4tvJQxcWRHR8lnNJ7CvCghCkzpHVD6MHn3JTh+HdY5QnkaVxYi9JEiY1DWo0D4YkPp1+/v9LnjdLvHU36olNzNubI1FP4Axmw7Uf0U+9+DljQ//fugp9O8ISsgguhlTP4c8kOrD9HsQkiL3qWq7Kb29pZP9YtGEVVVDZMRIZ6JXRhBO0fZIPPy1kCgZa5xxVDQP5lC1mzbmQYNRiPya79/DN6twJWeZs7RtNA0KHgL5y4vCm+eyUvRTAzsGEd55zN/wyuh/IqmdX9gt/Nf4t1p/rNc3dV6jaqqGXtqGr+w/yQa8jK/fw5kKXdALk+G8teDM1vRsaX0BkZd6WNwuxt2h+JPwVYC9uSl+yosPfVzrsTeb/G/Lec2pxCRNjzjWRD4HRCLRovlJZJAfiqe94MQ7JNgsOVHM3lIjB8/r6i7u+1wlGk/HNK7r4OGAj5bEas4Zx/ZbEWPtLbOSmt0JeRmmKfLqqcIss5S+v4oGKUfLtTUXOQNh23UNfRQc+acbyCiszs6ih4EcUZ9xl0I5lFgdj3qubuujXLWPRgDcbRVkIP/qa52vblw4dC0tZR+dJS+gOvLGwqkaXj1P0Qm8iMh5Hk4/hUU4ujC3SSMlXIkyvuxIUYx/yHy4kgsDB/ywiDL02cP0O5o8kag265ChKnx6WVY7vPWlck1vd665xmzHUyiBG8FTy/+t7q6+A3L06eG5ektWLAwYtgQlV4KQRMzFMba97D29FlS5inosmBhSGxQ4T3C0FKEUdRa1oltpaFsow05Bj+VjKlOhMZWeG+F91Z4nyu6uzXqgvmdYZAcCucOO+fOKmxTsL/Z6G/2sWCaEyJpltiCheHFeq/0K1bc0AXPURcOl0+QsmcLRVmzA2O9sI6ju3HevS39w0JPh8J/DmtvltiCheHFeh/eFzpAu9+Adg2MuXYVorcXBoCWLz6DZo01LyloeDx1/0K0chjtW+F9+hgY3gsRWYyI9Aa8+43GFUMDtP+Qc9sO5LszCe8tpR9lgHb0yY465+wiZViAhishnt8ibQ2EoGDnBwRQBWWSMbkthK7CqFdS5xxL6dNBvNIrioo6vSCD34rjH8D3lBE43gl0Z7hHImqlMR80lz4pvQKld1lKX+iorJyxJ+fqXFUt3UvSFPA68sKWEUKsLUIlvq+BYu0WDM5LaxSbpfQxpaduzASu92xMHwbtSek1rfs7xsJ7+f3Xk+FICUvpCwDl5Y0VdnvPJHjNKgj+OteiJyVXobwBu137PJN52i2lj4X3NoT30TbsP6Uo2oOcs7TXWSTaMyZanU7tq3TXH7CU3sKoYV1Teo+n/kSE3vcgp9U4pEUuZgYCLS3G2cyQ+ye77LEhds6xYCErIBJzMuawY6+SsSI4OKXIPLVOwVJ6CxY2MFhKb8HCBoa81Ond7oaDOBfPx9Xp72Es/Ce/v7xNUbbGMz7Py3MsrE+YFfV6a/eF3/kjY7aj4+r0l6JO/6x+SY7Id53e6637P8j33VJf6daF/EKXo6yzzNMZYTTr9Dkpo8dT/yvUc36JXTCPbWukUpZiJYjtxz5x0oKFBJD0rbkIgo76MS/FMSX2QmY+w/5/ID/PBgLNr+iXZglL6RMjU6VnHk/tzpyrZ6CApxldR9d+YUIa/RoHFixkhNhKrTEwRIwR6qB0i5T83kBgNi0tnhEspU+MjJTe56u7HkQ8D0TkhnJTk4D2b6Tdi2OyyqtsNryKKM3UmFjYgMH5at1TCMHGaho/FNJ1IhRhdygCncWm/QTF/3Mg0NRI16ULS+kTI23l9Hjq7oDVnYYCVgoRpSGgb8AyX5TLkrkWLCSDWd+/A6q6BRQNShGG4rOrHA7nX9OfeNNS+kRIq/W+svKijfF3EGMOmlkWLyzbbDb1OEvhLQwX/P7id8ipQN7MsF7WYEO1MlxiHFvIFmko/TTV5XKWwMubnYJpRRKlZ4stHDQRhQULw4StNUWJLof3o8Y9HDOS1TFQeqvqmCPSUPr5Wmvr7K+wg/DDmKIZFrjqs896po8Z0+DREyxYyDNqat6uRD0eoS+bjNo+UmQnIswXwmFbbFSShSyRVngPwOBKqn+8SCN6gAowYLbTKZ73+epOVZRGFyVasJArSktn+lB3vigSsb2Lw99CRMvpGz6iy3f8/q4ZnZ3NK4wrLWSLjEIlqturqu13UrJzOVf19cGMNchpocDISqS3wxjExvJaYZiFdCApdoRTgTdh4zm362vYkaLTJzwhoouRfm0g0H23omS2irHVkJcYWSlmdfX0kmiU74Hbz8HhLzh3lBo9qixYyA3GZBzRAJT1SU1Tbujq6v4yU2WPwVL6xMiLNyYjIKW9mjFRBCKnW2WwYKEP0aimCaGs6erytynKfT1mck6wlD4x8qL0FiwUIiylTwzLK1uwsIHBUnoLFjYwWEpvwcIGBkvpLVjYwGApvQULGxgspbew3kLTqP+upM4/+jFjTNM0fQHTrGCsdrz2g5cQSspFJVIhGhVhIUanc8swfbJr5FOmBO0dHSXFdrs2CWTfAwTfHTZmaynlRM5Vb397I2nChNUozlLG5Jcg7geqqrzGGP+mqMixYunShSD2/DwSqNFWXb3aGYk4KziP7oCEfVDGHRhTNsP/xozZHdQbzACtxhrGJpfjYBHOf6qq/C2U8T2bLfyDx1MaSWc1lwzApkw5zxEIFLtAu4maxvZBWXZF+tbYJoNuHrMrNEBlhGSLaDeuoRVOaIzEAinFWw5H8cdCrA61tZWGFGUWdV7PExpt48evtPf2quWgyc6MqXtA+HfEiS2wjefc0a9LtpRRbKIN5aNVez4DWd9RlMjrkYjWvmJFRTfKRkqYr5lXdNoFg24n571jUb6zkPWJkCPImzH/A3X+MeiWDajnqUYZUQb4V/Fa2fpNGrhGbKGNerVGvzM+2c2ZQ2eHE/lQepMAilJW1uh2OELUTfeXUF76NjpWUWymAsVvhNh/DJRF/IZfGdUgKDR3/jecy/+qqnbn8uXzSLgJlIFxYZrw+WbsrWn8eJRnX5RvI0OBYiuKxJcvUdli/4b+EMMgAFA25XscfsE5u19VXc+nO9Z7IIwFL0LTQLujcbgZtnEwjnqXVMNAxpcrUfn6b2Z/9eV4zx+Q5wswVI+2t8/+BCezgtfbsDPyPQXbnsh3Ewi7x1CiWLnit3hQeWL/RDvjWAhtDfbJGHyEMj7Z0bHkgWwNO3UOE8IG2skjUbZtUYYalK/IKBshnn6JymeUa60SJgK9KxnbbJU8OchwaFr3M4yJJr9/zn/N5GHDQApkjIkTG12rVvXCGylncs6PoixBfJwh/slOHLdj5yskfQiCfWSzKYtCIceylStpfXhac6uRu91KKefd1fBqkznXmUYCRkZjHPKFcNl0ShPRheh5HXt3wLs8lc7gi8rK+gmIGn6N3Vp4cCg6KavOZPIwVLYfIHQLkd+7MAAL4b2/R1n9bW1zobxMTp3a6OjoWOOGZx+P481RHkQGbBcSfOThwz2lyANlsyPf3hVIf9Rms9/Q1vbVl0ML8XlOn8+JvPiFyOEoIw+dbtgErZ9PSxSRB3gHdPkYz1rU3a20rl4d6FKUO1F+ydzuP45R1ZIqhLKbwDBSJIWIiukGF+9VDZpD9tWYQCMSkJfb7dF/t7Ze60dCSsBIwmir00Cb8zi3IwoylAO8Bd9YO94V0Y/8CM9YgH/QLkoGuT22yg3RLhBYXaFpNtCdbY5rdqINRmgiToO3rMRQJqQibyHELUj/azBY9MFQ67HR+uxudwUiDXkm8jmJ6RNt0C0G7VA2OAv2NQ4+gkEm2ftGVeVPG20U6FqwgGinMJ+vsYSxXtBOboLrt0Zeu6AsoCHbCPuIDiCtkGODftG3kPc9kUj477QSMu5fZ5GT0sP6nw5mgeicwjuAsqNlmeTDsFq3RqPqZ52dLgjAUAxMhGlqTc1Up6atmQKlOBaMIMUoMp5BjJUQMHlvSUlR89KlswZ124TAbiqlSj2ezsc9+jrQhtGILEHZbkDl7h9lZWM6li69nMZrU4YZotHh861xo2wwUMql2HZF/hA8Mir6onQIs+WFwWALjRYbgGmqxzN5X5T/LggZhezQTF2wsCl/R/luRkTyUWdnJwyPLqAZopF7PN0lqqr6oLDEo99x7qoxiqXTD8aSzXG5eq9NvBTSyS6Pp/o27PzK8OhEO32BSkQN4hbURx91uXTlpqgmY9ohBHcGg4oTOr8/5OV0GJTDDWMXg3glGpWXdXUl9no+XwMMkTwPtKMJWZFiyATo/RyiwXmhkO3DVauCMJrZ0W7iRMWxevUqGHWV3v9i8KfCOKc/gwaV3d/by2evWtUUMNLXLRC1MobXWwurz66DhT0Ygm43LKzyI4hyp82m3j48y1k1cq839H9QirPw3B0NJdFDsrdRlkuDwaZ/mxfS1F5n4G8GBB0GwxirgWv/hWtvDAbnvqAn5Bk+X/32eAY99xh4CF1RQJceCOYt8QLidtdthTSUzf57opvh3SNLce/9uOO24Viievz4C4t6e51H4BkXgOV7EdsNJY5QHXtGR0fRi0a9/wanx/PjoTgHj8vgiWlRykgY17yJe69D2Z40s8wramrqJ0QicgZ2T4Ciocqll02AvTcIEb2us/PaH+g6ijxgZOeC30eCfiXm/A406/K9qhq5DUZoCSXkG15v3XF45tlQ9r1RPhhoDrpEP4EcXuP3Nz1iXrbOIGOlh8JDePidEASEfpxBkaBV4oFAYFcI/DFZ1ckyhdtdj3BTuRq7Y+gVIJBdYMCVYPwdmqZS32UIj62MroViLbXZ+LHjx0/6YMGCM7Kw/JnB7Z45lTFtHuhzIAQEEYY+agyGKXw0DOSWEJgroeioF8dCUaUF19/Z0TH3WzoYTpDyd3fbjwOtLuXcNgm8Q9lECMKMaMj2NELZU1Fm0JXYqDcu0XTU16GeeY+ewTDD7b4Q1QDHbCj0SYpCrKJanXgR1b5GRD9d4PlTSJhEiod0XCCfY2z1CR0dt9LacsMOI8IQt4F+blP216Bc94I+55mXrBPISOljAxggvFuZdc8fEGbBy7bcZ1wxcoDH3A2K9WdsUCSagzcaADMQYfAtDWWiV9MeU5Tweeks35tfNDoQlVwF73AyBLgKHgmGUbbi2AcFK2LMgWpABHVicVFlZc/fFy3KbuhotqiqaoDRkaiSOA+lSAj78OYMHlM6jSiFeMv+ibLOGul5EGtqGovD4dDJ4OuNKIPNiDZoRVe2EgaTGjjJULXjd14gy8UjcwEUfwpk/n7QZifw0QHSUbvVI1VVrvPz/BVn2JC20hvhqwIP5jyQPmHB0kZheQ9rb29BaDg6GDv2konRaORlKD281togg0JmhKV3oYwQjDn0GWtU4PHU3oDSnAZhLTYMEZVNb1dYBCW71e9vvk5PHAV4PDN/Di9VDyN5COhkppI4CApBPsa5IxB90GfKEceECQ2V3d3iN5C3G6H0oF2sfARq+BMnwxj91UwYcYwb1+AJh+W/wMvd6RhGaQ3KepKqul7s6Jg1IlFHLkj3+wMTQjkHgruTwQBqHZXNCEtHdTbc5cttP0B5rgPRoUT0OcWwYfBeX3Cu/WM0FZ6AagWUmj0Mj2CmGECZ/z2aCk8IBGbDWGrXwqv3aRTREMK7VNP4eR0dm41aI9X33zd1IqT/O3ZfgVfvNsSUNhmGcb8J9HudrhstLFvWhKhS3gbj/SHJHPadcIAzFKVnU/OSgkZaSj9x4slOhFv7GFNg61gFYXmgra10yM8+w4tZ0maLPAzCf2PUQQ0gjH5MVZ1fmIejhra25u/gld6VssdULL1h7CMI8pvG8ehCStt3oN2TUHRUL/S2B/qO8HVnZ9NbijL87R+p4PF09yBCegC7P1GIT8qFclJ0+bf2difKPbpAiP8P/EHpqWwcHkfdC45wnH6ywJGG0k9TV68etwleyFyLW68vrw4EtvjWaPEdVUj63gyDFDQOY7UV9pWm2QricwoElb5nf0llg4fCxpeC7Hpr9GgDXnM1yvY5dqPG1xDRAWGmb9ujjkWL9o1Go3IhSkk9NZGiV49CULfFBSB3iJTmwPGxNrNcOm/xuxF9AdETChhpeXoIRoLraIHRQgER3iB+4UOQ4hdwYbPpszAS0JUKtLMXUPnI9qwtDgwmDoIFzFsDaSj9fC0YXP0tDJnZAUb3pqWVlVWbUxSgJ40emPHtlnmNcvXReyrnUZ+5P9oYC9rpXxQQLdE2WQhtE/PcaGMMyrU9Njs1hMIYgWZCn1pqtDFlyn9tqsq2A19Rxphjl0VCKJC7xtjgg1FDeXkDrfZUY+oDQLylviqF34Kflqc3ZyN9RYhwLGQeo6qR31VVTYGyjSYamZTq8diZYnxmiim9PFbTIlC00QX1CoRQ7M6Yy6SzhjqzY1uEgnsbx6MLGKNNsR2O8jiMCERvDN3M663fjz47GleNDlascNsZE6dgd2NUO/AnUT7qWamd4PP1jrrRtNvFb/C3o2GQRFTK6Ct2u5L3jlXDgTSVnoYCqtQtEzG9HmZRx5daeC2z++3ooKxsDY3gu5Bz26ZGZxcDnDsnw/tPc7unTzWTRgUoA/WAm2b2HIuDPNDjqavDTsxNjDiqqmb+ApS6SFHUvjIQDaFYtG7hvIqK1fBiowNaOUmI3hPB270Yo0FHumLRKSi97UzIHYzSqIFVV0+vAm/PhgFHlETlYmtwfD1j2mLjksJG2uF5T8/rbcXF+4Le0Umcq7SYIIRFHlFcvLe/u/uND83LRgzUOcdmU/4FTzUeYSn1jqLOOd9DkBF9kEdVdyQBdjj2eKun560RXhWFugzvQUbyeM7tZaAZdcel0XhFoJkNRqoS5d2uuHiv1WVle36xZs1bI9pS7nY3HARhrYeDx78eIZHkwktRn2WVQv5xnDMq32fd3W+OaMcmt/u8Mrvd9jvGJH2ag7fXGxipM85P4LMH/xRGH1RSsg+H3L1m3jZiMGaxZc+Dn9ugbEyICA3s+UtRUfiu1tZrsxphOdLIqE4eCr3+aWnpnkug+XtCudy43QWGHATF32zMmJ3fXrPmHX101XCChlG6XPtN51yBUqmoLxPhNRrt1VhdXXRGd3cEQksjpjg8BNsC1x2F8n25ySYHfd/R8eraHjzDBDJGxcXR2yAUxyFcLqbQFAL8mhBF/6sokedwyWSUeSLKVgrDdISmsWIo13eh0JvD/rXB52ssLSra/VTQBF7Jub3Zq3IlhJj6YFBHnVUo6wEoG4e+UTfdvUpK9tW6u//4kaLMH/YGKmNcgv06GMrpOIRTIYXXnoHyn4b6/d2oz++P8lWDbg6Ube+Skr13s9t3eau3950RGPV2ntPr3f8UIeRDKM8kskdQ+E54+D8Hg821K1e+ncWgstFBVuElmAPvqtyO3QMh2C4z/AqCIbfZbNr16QzbzAY+X8O5MDjnQjhpwgZAD/nom/dMv7/ZtPo0VLfnRJSvDuHX1kbvQd2TvYftSr+/5V90Vb7h8dSiTIxC9lNgcMxqk967ba7f33VZbMQXDfXlXM5AFeQ8o2zEAhr1ptwvhOuSYHDWSrouv2jkPl+IerjRBA0TQD8oNfUMDH8CT39aIFCKSM0YCUlRAPj4MOhnNo6idFJ8inunB4O7vDQc4ytgjMYK0QNDpByCZ1aAflTVCOOZLdjuCAZbfqTrQLtylO1WlP5XMJxjyKBi6wY97+ZcXD9cA27c7vrf4Rl/hBGiId9IoT4D4hPI4iyUjb7Xr1PISulj8HrrjoGlOxeWb18IEtUHiVmrcOpFMOufnGtv5TKQhFrm4YV2gxAcBgIfCUGtNp6hT2DxNRh9c3l5752J+q4jIpgUjaq/x/VngFk+3IZ79FF5NCHHI8j3PzZb9L3Y2O/M0WirqgpPjUa1/aHiNF5/P4TL+tBaKJIG4fw7aNMMY5Sg6nO63eMp3wfvRUNyf240oFHZoqR4T4At5N1e6+hoWkRXZ4Px4xvdPT29e6AshyK//0XZNjZa6PUOQt+gfDejlPclmpPA7W4sYyxUizKAfvZxsfukjHyBcj6N93ouGu35IJdx5ZWV07eBx94XfDkS5TvYkB8qW5jGAVBENG+tIe8Pn6/uEHj9P+K6w9beFwkhLxqKOx/e+A0oY9ads8aPv9Dd2+vcBfkcAjpNg/xsbBginbc/QXZuBe1uW7GiaZ1crj0npY8B3mF3KNKV0CkIPkNYbVhDAhSNlOpVUjKkvQNCLlyxwklpupuOwedTEDH0bIo8dsU1P0M+vwQTB36KA+QCMBoC0fSwmZASPt/ZpUKMOQvMO4+Yt/axsfIJKIBC4wdeZUwssNlKWltbF8KITI2jTSuDkvrwLhBUjqqNcjjKuS2EzYxyCHQ5TXyhPK4o4Qa//3rqtz5kSOz11u6Ev0twPwwHmSYDhiBrq1FuGjr8AgzLW5xHv25rKzU7IsWwtfT5Pi+KREKTcM1O8IIH4rGgn22CIaR9RSCbtxi0m2GzhV9Mx9gZg1/CJ4EuiFTkWJTKjGBiPJHUo+95vPerUto+DAQcOG5FJFAT996tzOcr8wihTgVP90YhqHx7Q4nMz26xS6WG97xHVWXaK9B4PDO3ZExrxn0HIO/StXnpjqEX1KRpzV7E/9t2O/90+XIHDByte/95H51rahRHb682UVV7oeQczks5DNfTpB/Yjc9PUiem2wKBZproY51G38vnAwhxqQFoW1hhWEgFHoZGvBGM3mjG44iAFCHqfb5pB4ncZng7gj4JBf5po+sFNTC9hNvhAcWH2UcOjY7q6tWbw/tD4PQw8nBs5mcpvaec/k/PNcpHTe56QahsOEnn6RwlGYqOfRgH+SWU7SEI3tuapnyc7VLKNIgjEhEQPP1z3gkoI33uw+5A2ulkQwH1QlK59JFoa8seU3SUTird+J+PAwi+fM/vn/MN9rOAZFVVF28LuuyIPGl2pP2wlRvn4mlHT9VrMTHa2UE7nBhIO/qnNO193PcU0l41Jg3JjnbUmh6NOrZGfgchvyNALpp9SS/Q2rIlk7tEtNOv7QDdX4U8Pw6vviAQWATa5XOextFD3jrX0LRZ0ajwgLFkKeG11LghrgSBUxqURCNBpO6f+GchY9O7V6IOR7PuCJTJYJgpHKi70bRP1DlI/aKk5MBV3d2vZtwBorJyj1IpOU2CiXCSZoQhhY+VjaBF8XyUQ6MRU+QFqWzUIQn/pNxUP9fohj6akbeCMlXh+jFQ/G8dDta6evVBuPdVkp4McLrdbncihFT2wsGpKNsk5E7SakKvu1IZuvFPZSPaoWzxtCNhjqcdctHfUU7AP+5RlxQV7dkZCr2ZKe3YuHG97kiEJjil+QUVeFVbBZUJp4wrYIRM2qF8jEaZxdFOL7dJO0nlQ3LsPgVVB6Uc0dMyhOff9fQcjPfKjHY0JVdXF69EVRIRhPIbKDF4TF+WYs9YSztsJm/j5U6L0Q70Xktz8LYE+aB8IgLefllUVB7MgnYFiT7qZwuj3q3+FsL/R2RHYZEas66w+hTuUkPH89Eo+wIEX+FwaD3hsK1XVddoquoWQnSzaLRYdblWO8JhF6oGkTKEeBOlVA9CWHk06pT03ZgsL/3SRq3cD8EY3IwQf8h+4hQ+Q1ibIay7oEwQ1rWeE3VomsrqKTD2DYSJqKvZup3OaE9Pjx2MRrDHiyV8Ko9Eeu1OJ3cwFi5GGFuBsuyKPP4X74P6vNOFfPRnkQDh50Ok3xsItNxhpOk0poIPwrRpj6ovvfT+ZcjraFyyORRTD3fwzgjtexDGU1gvnsG7fgLBW4FwvwehaNhmQ7wyiHY2l6oyqm5shut/BkN5BOf2rejRhoc1JsrEzsuga2M6Xh+R289RhjNQvl/iH56daEd1e3pf+TnyfQy8eg38/4EK43Covb29IhxPu+LilbaeniInwmc4BbsXz6ZedtRGg/LReHTScT26QzguKYq7duLETf861IQn1CPObhdHw8jUgp2bIE99whLiLeSOPpE+BQ/9DMryiao6OoXoDRm0KwPtQF6ddmG1qKjYHg5rkDtljM3GN0J5fo48j8J7UsMs8oo5d9mF7SnI8byurpGdYyDfyFrpqbFHUXrPQV0e9WXXxrFpqUAYGs76BIj+UD4mYKAvBfAExyDf47DtCMbCu5JShENQhLtUNXpt3Ay5faisbNgTZbsAgn8MCSkZIjCQJq58E/c96vO5HsrHpAde78yfQWj/D0ILI0WzsJJSkJKJL3DcWF6+5smBDY1lZRe64dqngUazoeiVRtn06aGoc8ezqqrencvMtTEYsxP3nIx8EZIrNMWYOa6flEz5M/7nDB5+LFllZf1U0IgM5cEIFvTp0KAMNM32O1DM+4uK+OM0/NW8IWvAIO8LBTsR+aK6xWmyTPBJ/6oAgySuLC0tnj9w/kOKKFev7v49aHYu5G4rQ+5IjDVqX3gG5Xuwo6Ml51GM1JjX0+OEUZEngiYw8qrL4K1ui+5FbDOvs7OF6vnrHLJSeq+3HsonH8ft9PkHKbql/hoW9OSystCHwzMTDLWW91Lj1E3w3IcZaboDXYVnnwnPCu9vAB7qTggSvKdaSddgn4S2EeX7Kw13NS/LM+izWM9ZKEsdngu60HPJpUQfwfMvi0UlXm/d4fi7QFFsescYMmAQpLdBwxvhfdNqnMwGFRV12+L9Z4AUJ6F84LuuKDS56I0lJUW3knJRTzh4z+NRj70e5/WIDYZyFa55ym4vOr+1ddawfIoFv1A9sv0CPLoW9ECUp0cSpF3vwRuf2dV1nd6wV14+fZLdrtLXDdTZY3KntELR/8/lirySeJLPXKFPMkrjJ67BM09eqzJUpVIuGYmlpfONDJWeplyuP8UQCqXM8LiRJUi/fSSnLkIZEH7JS+AVyPggheps8jpUCe7DPgRHHoiyIXSMROBJ3oSRODsYnL3QuHt44fVeXANlugjK/0eUT5/zH+X4DAbgTCHktijbBYw5tyAPhWvW4PTFkQi/f5g//xCfdQvpds+A9+ZNKA/1WCSlJsWZjbRnoXS/QWR0AXkzk7dUtZhLE27QvcMNCtlRXWhAlHEWnqvPfwhafob/a1BOVE0YGVCfWbblKP5f/f7uy8yxIcMOj6d+f5DxKtBqb8Po6A2qjxhOZw61Zeg0LnRkpPR46Vr8TcdLVxvvJxGCyouHq8NLKtBgFijz3djdCwygBisdEApww3gtHN4VCDSfrh+MKO6wezzfnoZyTDfHBaAoigYhNevsFMJGl9hs7Pi2tuAH2U3VnD0qKy/ZmPPIFZw7T4l1EILCC5QPgMrpn8/kjagP3zISE3YOBDz//4CNFPWgOqLbKx0Gb/Xv5dTXYjbC+Hv1G0YQVDVzOOx/AT8PhIEspqmyYMj/jeKdZIyxL3yk3XoPhT8AL4c6vGtLRSEhln5V5Sei3v6SecmIorv7zc6ysv2eQd3qEAgDDXEEDG3Xuwoo0Rank12xatXrwxDyDYWnRSj0xvslJXuXQ2C3gKAiKpLkGmIelNo6rgTtnlOUBRm1VucDPT3/XVlSsu+PoFEJRGA7lNGgHsJ+KBSt2vO8zabVt7fP03vCjTSqqn6xNBKJvAc1R+RBMwqTvusmieRuDbZzEVkOW1UoFXp73w6Vl2/9hBAu+tKyKYw6Iko5EaX70Wbb7Ts6b1xZuNAFMU38AUyAgJCM0pTTcrbD0Tuqc9AtX74oiLLMQ5kQPpMT1XUektHzFizxszSXmZ4wSujt5bdCif5Oim6grzX4pfg2iNGA39+0gDFxG8rT11BGbRDQraVCKA1tbbuPGu2ofYGxov9Ckf6BKGmlIaa0UT1fgN9KggVERg6trXd2Q9FvAW/foHKhnNTf4zyHwznJuKKwkZbST5x4fgUIvhPCGXgGAlujafyxH3+8bkDvsJHGfM1mE49Dwb+LD1oQqD6N+n2WHVHyB1rggnP2EervethH0SmU7B0o1dv6BaMP+oT3TwgwlEzvAkt9Fb4wurCOzBoGyeDzKfTp7++gWqtpjEA7habQejzWF380sckmK55FmT4zVIgaPe3bgo7ryxx5jbYVK/SOI2TNAL0uv7qzc+efjOPRBXUnRdk6jQjE8PQQliV2e29BrDcmBIfH1Lur4oi+cyvLVFUd4Xn4E0NKRzf+YBwZFFwX3iAUbFgGrWSKhQsXaohEaJVg6kyDsupVkG6XSxbERBW0Hh546TfkLgY5jhYUMQ8KFml5epstitgZrwgQ8YGwovw7rXtHAigShX3mEZWURex2+NMCAASXPGZffwDyVoxRq+/og3NJjXcom8FU/KNc+sjAgoCm0SIcxFjDmAO9MFR9B6MNoa8vv5aVoCf1Tkq7nWy0UDCKa8HCug/q/lv4sJTegoUNDJbSW7CwgSFNpadPTsbIJaNmv7aSVQhAHd4sD/3RVlhhFnUrMfb0wT4FVTaTVpAD+qOyFWT5dEhp9HUoLMSTq+Cr8zrSIqIQkoZxfi1E73dCaPQpbFH/iRJGFxCGn2g9Oym1r3G0EMRf4XJFC6IhD+WhFVq+BRW/FCKyGGX9AfvUaj7qsNmok7vaDju0kHiLJOp3QZ/xCgBTpc1W1As9B816vgfNvkI5vwyF9I75BQLWDp5CFyR4G/0Wxj1os/kKRO7WbxSYZ+qHQi7buoxCoKvFWwsWLFiwYMGCBQsWLIwuFOX/AUc3NFo7jvdtAAAAAElFTkSuQmCC"/>
          <p:cNvSpPr>
            <a:spLocks noChangeAspect="1" noChangeArrowheads="1"/>
          </p:cNvSpPr>
          <p:nvPr/>
        </p:nvSpPr>
        <p:spPr bwMode="auto">
          <a:xfrm>
            <a:off x="17430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5372" name="Picture 12" descr="https://static.thenounproject.com/png/1962479-200.png">
            <a:hlinkClick r:id="rId10" tooltip="Magnifying Glass"/>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340080" y="5232482"/>
            <a:ext cx="464840" cy="464840"/>
          </a:xfrm>
          <a:prstGeom prst="rect">
            <a:avLst/>
          </a:prstGeom>
          <a:noFill/>
          <a:extLst>
            <a:ext uri="{909E8E84-426E-40DD-AFC4-6F175D3DCCD1}">
              <a14:hiddenFill xmlns:a14="http://schemas.microsoft.com/office/drawing/2010/main">
                <a:solidFill>
                  <a:srgbClr val="FFFFFF"/>
                </a:solidFill>
              </a14:hiddenFill>
            </a:ext>
          </a:extLst>
        </p:spPr>
      </p:pic>
      <p:pic>
        <p:nvPicPr>
          <p:cNvPr id="15374" name="Picture 14" descr="https://static.thenounproject.com/png/1057868-200.png">
            <a:hlinkClick r:id="rId12" tooltip="process"/>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829373" y="4116636"/>
            <a:ext cx="464493" cy="464493"/>
          </a:xfrm>
          <a:prstGeom prst="rect">
            <a:avLst/>
          </a:prstGeom>
          <a:noFill/>
          <a:extLst>
            <a:ext uri="{909E8E84-426E-40DD-AFC4-6F175D3DCCD1}">
              <a14:hiddenFill xmlns:a14="http://schemas.microsoft.com/office/drawing/2010/main">
                <a:solidFill>
                  <a:srgbClr val="FFFFFF"/>
                </a:solidFill>
              </a14:hiddenFill>
            </a:ext>
          </a:extLst>
        </p:spPr>
      </p:pic>
      <p:pic>
        <p:nvPicPr>
          <p:cNvPr id="15376" name="Picture 16" descr="https://static.thenounproject.com/png/476602-200.png">
            <a:hlinkClick r:id="rId14" tooltip="Planning"/>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833725" y="3005779"/>
            <a:ext cx="462757" cy="4627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4808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027124" y="392114"/>
            <a:ext cx="7921625" cy="1144587"/>
          </a:xfrm>
        </p:spPr>
        <p:txBody>
          <a:bodyPr/>
          <a:lstStyle/>
          <a:p>
            <a:pPr marL="457200" indent="-457200"/>
            <a:r>
              <a:rPr lang="nb-NO" dirty="0"/>
              <a:t>Formål og roller</a:t>
            </a:r>
          </a:p>
        </p:txBody>
      </p:sp>
      <p:sp>
        <p:nvSpPr>
          <p:cNvPr id="3" name="Content Placeholder 2"/>
          <p:cNvSpPr>
            <a:spLocks noGrp="1"/>
          </p:cNvSpPr>
          <p:nvPr>
            <p:ph idx="4294967295"/>
          </p:nvPr>
        </p:nvSpPr>
        <p:spPr>
          <a:xfrm>
            <a:off x="2743200" y="1981200"/>
            <a:ext cx="7924800" cy="4114800"/>
          </a:xfrm>
        </p:spPr>
        <p:txBody>
          <a:bodyPr/>
          <a:lstStyle/>
          <a:p>
            <a:pPr marL="271145" indent="-271145"/>
            <a:endParaRPr lang="nb-NO" dirty="0">
              <a:cs typeface="Arial"/>
            </a:endParaRPr>
          </a:p>
          <a:p>
            <a:pPr marL="588645" lvl="1"/>
            <a:endParaRPr lang="nb-NO" dirty="0">
              <a:cs typeface="Arial"/>
            </a:endParaRPr>
          </a:p>
          <a:p>
            <a:pPr marL="271145" indent="-271145"/>
            <a:endParaRPr lang="en-GB" dirty="0">
              <a:cs typeface="Arial"/>
            </a:endParaRPr>
          </a:p>
        </p:txBody>
      </p:sp>
      <p:pic>
        <p:nvPicPr>
          <p:cNvPr id="82946" name="Picture 2" descr="https://static.thenounproject.com/png/737662-200.png">
            <a:hlinkClick r:id="rId3" tooltip="group"/>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27124" y="3156855"/>
            <a:ext cx="1220561" cy="1220561"/>
          </a:xfrm>
          <a:prstGeom prst="rect">
            <a:avLst/>
          </a:prstGeom>
          <a:noFill/>
          <a:extLst>
            <a:ext uri="{909E8E84-426E-40DD-AFC4-6F175D3DCCD1}">
              <a14:hiddenFill xmlns:a14="http://schemas.microsoft.com/office/drawing/2010/main">
                <a:solidFill>
                  <a:srgbClr val="FFFFFF"/>
                </a:solidFill>
              </a14:hiddenFill>
            </a:ext>
          </a:extLst>
        </p:spPr>
      </p:pic>
      <p:pic>
        <p:nvPicPr>
          <p:cNvPr id="82948" name="Picture 4" descr="https://static.thenounproject.com/png/1994906-200.png">
            <a:hlinkClick r:id="rId5" tooltip="Woman"/>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60460" y="5119006"/>
            <a:ext cx="1053194" cy="1053194"/>
          </a:xfrm>
          <a:prstGeom prst="rect">
            <a:avLst/>
          </a:prstGeom>
          <a:noFill/>
          <a:extLst>
            <a:ext uri="{909E8E84-426E-40DD-AFC4-6F175D3DCCD1}">
              <a14:hiddenFill xmlns:a14="http://schemas.microsoft.com/office/drawing/2010/main">
                <a:solidFill>
                  <a:srgbClr val="FFFFFF"/>
                </a:solidFill>
              </a14:hiddenFill>
            </a:ext>
          </a:extLst>
        </p:spPr>
      </p:pic>
      <p:pic>
        <p:nvPicPr>
          <p:cNvPr id="82950" name="Picture 6" descr="https://static.thenounproject.com/png/1133315-200.png">
            <a:hlinkClick r:id="rId7" tooltip="goal"/>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94140" y="1804646"/>
            <a:ext cx="1086531" cy="108653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bwMode="auto">
          <a:xfrm>
            <a:off x="3331030" y="2053654"/>
            <a:ext cx="6945084" cy="58851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nb-NO" sz="2400" b="1" dirty="0">
                <a:latin typeface="Arial" charset="0"/>
                <a:ea typeface="ヒラギノ角ゴ Pro W3" charset="-128"/>
                <a:cs typeface="ヒラギノ角ゴ Pro W3" charset="-128"/>
              </a:rPr>
              <a:t>Etablere en felles forståelse av nåsituasjonen</a:t>
            </a:r>
            <a:endParaRPr lang="en-GB" sz="2400" b="1" dirty="0">
              <a:latin typeface="Arial" charset="0"/>
              <a:ea typeface="ヒラギノ角ゴ Pro W3" charset="-128"/>
              <a:cs typeface="ヒラギノ角ゴ Pro W3" charset="-128"/>
            </a:endParaRPr>
          </a:p>
        </p:txBody>
      </p:sp>
      <p:sp>
        <p:nvSpPr>
          <p:cNvPr id="8" name="Rectangle 7"/>
          <p:cNvSpPr/>
          <p:nvPr/>
        </p:nvSpPr>
        <p:spPr bwMode="auto">
          <a:xfrm>
            <a:off x="3247684" y="3222500"/>
            <a:ext cx="6945084" cy="153455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nb-NO" sz="2400" b="1" dirty="0">
                <a:cs typeface="Arial"/>
              </a:rPr>
              <a:t>Arbeidsgruppen</a:t>
            </a:r>
            <a:r>
              <a:rPr lang="nb-NO" sz="2400" dirty="0">
                <a:cs typeface="Arial"/>
              </a:rPr>
              <a:t> - fageksperter med kunnskapen om dagens prosess, utfordringer og muligheter for forbedring</a:t>
            </a:r>
          </a:p>
          <a:p>
            <a:pPr eaLnBrk="0" fontAlgn="base" hangingPunct="0">
              <a:spcBef>
                <a:spcPct val="0"/>
              </a:spcBef>
              <a:spcAft>
                <a:spcPct val="0"/>
              </a:spcAft>
            </a:pPr>
            <a:endParaRPr lang="en-GB" sz="2400" b="1" dirty="0">
              <a:latin typeface="Arial" charset="0"/>
              <a:ea typeface="ヒラギノ角ゴ Pro W3" charset="-128"/>
              <a:cs typeface="ヒラギノ角ゴ Pro W3" charset="-128"/>
            </a:endParaRPr>
          </a:p>
        </p:txBody>
      </p:sp>
      <p:sp>
        <p:nvSpPr>
          <p:cNvPr id="9" name="Rectangle 8"/>
          <p:cNvSpPr/>
          <p:nvPr/>
        </p:nvSpPr>
        <p:spPr bwMode="auto">
          <a:xfrm>
            <a:off x="3247684" y="4878325"/>
            <a:ext cx="6945084" cy="153455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nb-NO" sz="2400" b="1" dirty="0">
                <a:cs typeface="Arial"/>
              </a:rPr>
              <a:t>Prosessleder</a:t>
            </a:r>
            <a:r>
              <a:rPr lang="nb-NO" sz="2400" dirty="0">
                <a:cs typeface="Arial"/>
              </a:rPr>
              <a:t> - leder møtene og oppsummerer og videreformidler til prosesseier for beslutninger/veivalg</a:t>
            </a:r>
          </a:p>
          <a:p>
            <a:endParaRPr lang="nb-NO" sz="2400" dirty="0">
              <a:cs typeface="Arial"/>
            </a:endParaRPr>
          </a:p>
          <a:p>
            <a:pPr eaLnBrk="0" fontAlgn="base" hangingPunct="0">
              <a:spcBef>
                <a:spcPct val="0"/>
              </a:spcBef>
              <a:spcAft>
                <a:spcPct val="0"/>
              </a:spcAft>
            </a:pPr>
            <a:endParaRPr lang="en-GB" sz="2400" b="1" dirty="0">
              <a:latin typeface="Arial" charset="0"/>
              <a:ea typeface="ヒラギノ角ゴ Pro W3" charset="-128"/>
              <a:cs typeface="ヒラギノ角ゴ Pro W3" charset="-128"/>
            </a:endParaRPr>
          </a:p>
        </p:txBody>
      </p:sp>
    </p:spTree>
    <p:extLst>
      <p:ext uri="{BB962C8B-B14F-4D97-AF65-F5344CB8AC3E}">
        <p14:creationId xmlns:p14="http://schemas.microsoft.com/office/powerpoint/2010/main" val="5052492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CA695648-21E9-4045-A53E-31B6D20C9C38}" type="slidenum">
              <a:rPr lang="en-US" smtClean="0"/>
              <a:pPr>
                <a:defRPr/>
              </a:pPr>
              <a:t>5</a:t>
            </a:fld>
            <a:endParaRPr lang="en-US"/>
          </a:p>
        </p:txBody>
      </p:sp>
      <p:pic>
        <p:nvPicPr>
          <p:cNvPr id="409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2917" t="11166" r="23646" b="19334"/>
          <a:stretch/>
        </p:blipFill>
        <p:spPr bwMode="auto">
          <a:xfrm>
            <a:off x="1859842" y="590550"/>
            <a:ext cx="7710316" cy="6076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858545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B08A66-8960-4279-B312-AF14A96866DA}"/>
              </a:ext>
            </a:extLst>
          </p:cNvPr>
          <p:cNvSpPr>
            <a:spLocks noGrp="1"/>
          </p:cNvSpPr>
          <p:nvPr>
            <p:ph type="title"/>
          </p:nvPr>
        </p:nvSpPr>
        <p:spPr/>
        <p:txBody>
          <a:bodyPr/>
          <a:lstStyle/>
          <a:p>
            <a:r>
              <a:rPr lang="nb-NO" dirty="0">
                <a:cs typeface="Arial"/>
              </a:rPr>
              <a:t>Bakgrunn og fremdriftsplan</a:t>
            </a:r>
            <a:endParaRPr lang="nb-NO" dirty="0"/>
          </a:p>
        </p:txBody>
      </p:sp>
      <p:sp>
        <p:nvSpPr>
          <p:cNvPr id="3" name="Plassholder for innhold 2">
            <a:extLst>
              <a:ext uri="{FF2B5EF4-FFF2-40B4-BE49-F238E27FC236}">
                <a16:creationId xmlns:a16="http://schemas.microsoft.com/office/drawing/2014/main" id="{FAEC91E3-FA20-4DAA-8CE1-5DF519D62428}"/>
              </a:ext>
            </a:extLst>
          </p:cNvPr>
          <p:cNvSpPr>
            <a:spLocks noGrp="1"/>
          </p:cNvSpPr>
          <p:nvPr>
            <p:ph idx="1"/>
          </p:nvPr>
        </p:nvSpPr>
        <p:spPr/>
        <p:txBody>
          <a:bodyPr/>
          <a:lstStyle/>
          <a:p>
            <a:r>
              <a:rPr lang="nb-NO" dirty="0">
                <a:cs typeface="Arial"/>
              </a:rPr>
              <a:t>Hvorfor gjør vi dette?</a:t>
            </a:r>
          </a:p>
          <a:p>
            <a:pPr marL="0" indent="0">
              <a:buNone/>
            </a:pPr>
            <a:r>
              <a:rPr lang="en-US" i="1" dirty="0">
                <a:cs typeface="Arial"/>
              </a:rPr>
              <a:t>[sett inn </a:t>
            </a:r>
            <a:r>
              <a:rPr lang="en-US" i="1" dirty="0" err="1">
                <a:cs typeface="Arial"/>
              </a:rPr>
              <a:t>bakgrunn</a:t>
            </a:r>
            <a:r>
              <a:rPr lang="en-US" i="1" dirty="0">
                <a:cs typeface="Arial"/>
              </a:rPr>
              <a:t> </a:t>
            </a:r>
            <a:r>
              <a:rPr lang="en-US" i="1" dirty="0" err="1">
                <a:cs typeface="Arial"/>
              </a:rPr>
              <a:t>fra</a:t>
            </a:r>
            <a:r>
              <a:rPr lang="en-US" i="1" dirty="0">
                <a:cs typeface="Arial"/>
              </a:rPr>
              <a:t> </a:t>
            </a:r>
            <a:r>
              <a:rPr lang="en-US" i="1" dirty="0" err="1">
                <a:cs typeface="Arial"/>
              </a:rPr>
              <a:t>mandat</a:t>
            </a:r>
            <a:r>
              <a:rPr lang="en-US" i="1" dirty="0">
                <a:cs typeface="Arial"/>
              </a:rPr>
              <a:t>]</a:t>
            </a:r>
          </a:p>
          <a:p>
            <a:pPr marL="0" indent="0">
              <a:buNone/>
            </a:pPr>
            <a:endParaRPr lang="nb-NO" i="1" dirty="0">
              <a:cs typeface="Arial"/>
            </a:endParaRPr>
          </a:p>
          <a:p>
            <a:pPr marL="271145" indent="-271145"/>
            <a:r>
              <a:rPr lang="nb-NO" dirty="0">
                <a:cs typeface="Arial"/>
              </a:rPr>
              <a:t>Prosesseier/Styringsgruppe </a:t>
            </a:r>
            <a:r>
              <a:rPr lang="nb-NO" i="1" dirty="0">
                <a:cs typeface="Arial"/>
              </a:rPr>
              <a:t>(Her settes det inn hvem som er prosesseier/styringsgruppe for prosessforbedringen)</a:t>
            </a:r>
          </a:p>
          <a:p>
            <a:pPr marL="271145" indent="-271145"/>
            <a:endParaRPr lang="nb-NO" dirty="0">
              <a:cs typeface="Arial"/>
            </a:endParaRPr>
          </a:p>
          <a:p>
            <a:pPr marL="271145" indent="-271145"/>
            <a:endParaRPr lang="nb-NO" dirty="0">
              <a:cs typeface="Arial"/>
            </a:endParaRPr>
          </a:p>
          <a:p>
            <a:pPr marL="0" indent="0">
              <a:buNone/>
            </a:pPr>
            <a:endParaRPr lang="nb-NO" dirty="0">
              <a:cs typeface="Arial"/>
            </a:endParaRPr>
          </a:p>
          <a:p>
            <a:pPr marL="271145" indent="-271145"/>
            <a:r>
              <a:rPr lang="nb-NO" sz="2400" b="1" dirty="0">
                <a:cs typeface="Arial"/>
              </a:rPr>
              <a:t>Tidslinje over gruppens arbeid</a:t>
            </a:r>
          </a:p>
          <a:p>
            <a:pPr marL="271145" indent="-271145"/>
            <a:endParaRPr lang="nb-NO" dirty="0">
              <a:cs typeface="Arial"/>
            </a:endParaRPr>
          </a:p>
        </p:txBody>
      </p:sp>
      <p:graphicFrame>
        <p:nvGraphicFramePr>
          <p:cNvPr id="4" name="Diagram 3"/>
          <p:cNvGraphicFramePr/>
          <p:nvPr>
            <p:extLst>
              <p:ext uri="{D42A27DB-BD31-4B8C-83A1-F6EECF244321}">
                <p14:modId xmlns:p14="http://schemas.microsoft.com/office/powerpoint/2010/main" val="3258458296"/>
              </p:ext>
            </p:extLst>
          </p:nvPr>
        </p:nvGraphicFramePr>
        <p:xfrm>
          <a:off x="1861457" y="5388429"/>
          <a:ext cx="8338457" cy="11756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889958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42481789"/>
              </p:ext>
            </p:extLst>
          </p:nvPr>
        </p:nvGraphicFramePr>
        <p:xfrm>
          <a:off x="1525192" y="1588"/>
          <a:ext cx="1191" cy="1588"/>
        </p:xfrm>
        <a:graphic>
          <a:graphicData uri="http://schemas.openxmlformats.org/presentationml/2006/ole">
            <mc:AlternateContent xmlns:mc="http://schemas.openxmlformats.org/markup-compatibility/2006">
              <mc:Choice xmlns:v="urn:schemas-microsoft-com:vml" Requires="v">
                <p:oleObj spid="_x0000_s4099" name="think-cell Slide" r:id="rId6" imgW="395" imgH="394" progId="TCLayout.ActiveDocument.1">
                  <p:embed/>
                </p:oleObj>
              </mc:Choice>
              <mc:Fallback>
                <p:oleObj name="think-cell Slide" r:id="rId6" imgW="395" imgH="394" progId="TCLayout.ActiveDocument.1">
                  <p:embed/>
                  <p:pic>
                    <p:nvPicPr>
                      <p:cNvPr id="4" name="Object 3" hidden="1"/>
                      <p:cNvPicPr/>
                      <p:nvPr/>
                    </p:nvPicPr>
                    <p:blipFill>
                      <a:blip r:embed="rId7"/>
                      <a:stretch>
                        <a:fillRect/>
                      </a:stretch>
                    </p:blipFill>
                    <p:spPr>
                      <a:xfrm>
                        <a:off x="1525192" y="1588"/>
                        <a:ext cx="1191" cy="1588"/>
                      </a:xfrm>
                      <a:prstGeom prst="rect">
                        <a:avLst/>
                      </a:prstGeom>
                    </p:spPr>
                  </p:pic>
                </p:oleObj>
              </mc:Fallback>
            </mc:AlternateContent>
          </a:graphicData>
        </a:graphic>
      </p:graphicFrame>
      <p:sp>
        <p:nvSpPr>
          <p:cNvPr id="5" name="Rectangle 4" hidden="1"/>
          <p:cNvSpPr/>
          <p:nvPr>
            <p:custDataLst>
              <p:tags r:id="rId3"/>
            </p:custDataLst>
          </p:nvPr>
        </p:nvSpPr>
        <p:spPr bwMode="gray">
          <a:xfrm>
            <a:off x="1524001" y="0"/>
            <a:ext cx="119063" cy="158750"/>
          </a:xfrm>
          <a:prstGeom prst="rect">
            <a:avLst/>
          </a:prstGeom>
          <a:solidFill>
            <a:schemeClr val="accent3"/>
          </a:solidFill>
          <a:ln w="19050" algn="ctr">
            <a:solidFill>
              <a:schemeClr val="accent3"/>
            </a:solidFill>
            <a:miter lim="800000"/>
            <a:headEnd/>
            <a:tailEnd/>
          </a:ln>
        </p:spPr>
        <p:txBody>
          <a:bodyPr vert="horz" wrap="none" lIns="0" tIns="0" rIns="0" bIns="0" numCol="1" spcCol="0" rtlCol="0" anchor="ctr" anchorCtr="0">
            <a:noAutofit/>
          </a:bodyPr>
          <a:lstStyle/>
          <a:p>
            <a:pPr algn="ctr">
              <a:spcBef>
                <a:spcPct val="0"/>
              </a:spcBef>
              <a:spcAft>
                <a:spcPct val="0"/>
              </a:spcAft>
              <a:buFont typeface="Wingdings 2" pitchFamily="18" charset="2"/>
              <a:buNone/>
            </a:pPr>
            <a:endParaRPr lang="nb-NO" sz="2000" dirty="0" err="1">
              <a:solidFill>
                <a:schemeClr val="bg1"/>
              </a:solidFill>
              <a:latin typeface="Comic Book" panose="020B0604020202020204" charset="0"/>
              <a:ea typeface="+mj-ea"/>
              <a:cs typeface="+mj-cs"/>
              <a:sym typeface="Comic Book" panose="020B0604020202020204" charset="0"/>
            </a:endParaRPr>
          </a:p>
        </p:txBody>
      </p:sp>
      <p:sp>
        <p:nvSpPr>
          <p:cNvPr id="2" name="Title 1"/>
          <p:cNvSpPr>
            <a:spLocks noGrp="1"/>
          </p:cNvSpPr>
          <p:nvPr>
            <p:ph type="title" idx="4294967295"/>
          </p:nvPr>
        </p:nvSpPr>
        <p:spPr>
          <a:xfrm>
            <a:off x="1628769" y="90205"/>
            <a:ext cx="3737121" cy="356363"/>
          </a:xfrm>
          <a:solidFill>
            <a:schemeClr val="bg1"/>
          </a:solidFill>
        </p:spPr>
        <p:txBody>
          <a:bodyPr/>
          <a:lstStyle/>
          <a:p>
            <a:r>
              <a:rPr lang="nb-NO" dirty="0">
                <a:solidFill>
                  <a:schemeClr val="tx1"/>
                </a:solidFill>
                <a:latin typeface="Georgia" panose="02040502050405020303" pitchFamily="18" charset="0"/>
              </a:rPr>
              <a:t>Prosessforbedring</a:t>
            </a:r>
          </a:p>
        </p:txBody>
      </p:sp>
      <p:sp>
        <p:nvSpPr>
          <p:cNvPr id="15" name="Freeform 14"/>
          <p:cNvSpPr/>
          <p:nvPr/>
        </p:nvSpPr>
        <p:spPr>
          <a:xfrm>
            <a:off x="1912966" y="1351588"/>
            <a:ext cx="8142763" cy="4755410"/>
          </a:xfrm>
          <a:custGeom>
            <a:avLst/>
            <a:gdLst>
              <a:gd name="connsiteX0" fmla="*/ 0 w 8495479"/>
              <a:gd name="connsiteY0" fmla="*/ 1736112 h 4811894"/>
              <a:gd name="connsiteX1" fmla="*/ 3048000 w 8495479"/>
              <a:gd name="connsiteY1" fmla="*/ 66338 h 4811894"/>
              <a:gd name="connsiteX2" fmla="*/ 7368209 w 8495479"/>
              <a:gd name="connsiteY2" fmla="*/ 503660 h 4811894"/>
              <a:gd name="connsiteX3" fmla="*/ 7142922 w 8495479"/>
              <a:gd name="connsiteY3" fmla="*/ 2080669 h 4811894"/>
              <a:gd name="connsiteX4" fmla="*/ 2981739 w 8495479"/>
              <a:gd name="connsiteY4" fmla="*/ 2650512 h 4811894"/>
              <a:gd name="connsiteX5" fmla="*/ 967409 w 8495479"/>
              <a:gd name="connsiteY5" fmla="*/ 3485399 h 4811894"/>
              <a:gd name="connsiteX6" fmla="*/ 1113183 w 8495479"/>
              <a:gd name="connsiteY6" fmla="*/ 4810616 h 4811894"/>
              <a:gd name="connsiteX7" fmla="*/ 7407965 w 8495479"/>
              <a:gd name="connsiteY7" fmla="*/ 3723938 h 4811894"/>
              <a:gd name="connsiteX8" fmla="*/ 8401878 w 8495479"/>
              <a:gd name="connsiteY8" fmla="*/ 3445643 h 4811894"/>
              <a:gd name="connsiteX9" fmla="*/ 8441635 w 8495479"/>
              <a:gd name="connsiteY9" fmla="*/ 3472147 h 4811894"/>
              <a:gd name="connsiteX0" fmla="*/ 0 w 9182116"/>
              <a:gd name="connsiteY0" fmla="*/ 1861003 h 4819827"/>
              <a:gd name="connsiteX1" fmla="*/ 3734637 w 9182116"/>
              <a:gd name="connsiteY1" fmla="*/ 74271 h 4819827"/>
              <a:gd name="connsiteX2" fmla="*/ 8054846 w 9182116"/>
              <a:gd name="connsiteY2" fmla="*/ 511593 h 4819827"/>
              <a:gd name="connsiteX3" fmla="*/ 7829559 w 9182116"/>
              <a:gd name="connsiteY3" fmla="*/ 2088602 h 4819827"/>
              <a:gd name="connsiteX4" fmla="*/ 3668376 w 9182116"/>
              <a:gd name="connsiteY4" fmla="*/ 2658445 h 4819827"/>
              <a:gd name="connsiteX5" fmla="*/ 1654046 w 9182116"/>
              <a:gd name="connsiteY5" fmla="*/ 3493332 h 4819827"/>
              <a:gd name="connsiteX6" fmla="*/ 1799820 w 9182116"/>
              <a:gd name="connsiteY6" fmla="*/ 4818549 h 4819827"/>
              <a:gd name="connsiteX7" fmla="*/ 8094602 w 9182116"/>
              <a:gd name="connsiteY7" fmla="*/ 3731871 h 4819827"/>
              <a:gd name="connsiteX8" fmla="*/ 9088515 w 9182116"/>
              <a:gd name="connsiteY8" fmla="*/ 3453576 h 4819827"/>
              <a:gd name="connsiteX9" fmla="*/ 9128272 w 9182116"/>
              <a:gd name="connsiteY9" fmla="*/ 3480080 h 4819827"/>
              <a:gd name="connsiteX0" fmla="*/ 0 w 9076480"/>
              <a:gd name="connsiteY0" fmla="*/ 1034664 h 4769664"/>
              <a:gd name="connsiteX1" fmla="*/ 3629001 w 9076480"/>
              <a:gd name="connsiteY1" fmla="*/ 24108 h 4769664"/>
              <a:gd name="connsiteX2" fmla="*/ 7949210 w 9076480"/>
              <a:gd name="connsiteY2" fmla="*/ 461430 h 4769664"/>
              <a:gd name="connsiteX3" fmla="*/ 7723923 w 9076480"/>
              <a:gd name="connsiteY3" fmla="*/ 2038439 h 4769664"/>
              <a:gd name="connsiteX4" fmla="*/ 3562740 w 9076480"/>
              <a:gd name="connsiteY4" fmla="*/ 2608282 h 4769664"/>
              <a:gd name="connsiteX5" fmla="*/ 1548410 w 9076480"/>
              <a:gd name="connsiteY5" fmla="*/ 3443169 h 4769664"/>
              <a:gd name="connsiteX6" fmla="*/ 1694184 w 9076480"/>
              <a:gd name="connsiteY6" fmla="*/ 4768386 h 4769664"/>
              <a:gd name="connsiteX7" fmla="*/ 7988966 w 9076480"/>
              <a:gd name="connsiteY7" fmla="*/ 3681708 h 4769664"/>
              <a:gd name="connsiteX8" fmla="*/ 8982879 w 9076480"/>
              <a:gd name="connsiteY8" fmla="*/ 3403413 h 4769664"/>
              <a:gd name="connsiteX9" fmla="*/ 9022636 w 9076480"/>
              <a:gd name="connsiteY9" fmla="*/ 3429917 h 4769664"/>
              <a:gd name="connsiteX0" fmla="*/ 0 w 9076480"/>
              <a:gd name="connsiteY0" fmla="*/ 739427 h 4474427"/>
              <a:gd name="connsiteX1" fmla="*/ 3734638 w 9076480"/>
              <a:gd name="connsiteY1" fmla="*/ 111643 h 4474427"/>
              <a:gd name="connsiteX2" fmla="*/ 7949210 w 9076480"/>
              <a:gd name="connsiteY2" fmla="*/ 166193 h 4474427"/>
              <a:gd name="connsiteX3" fmla="*/ 7723923 w 9076480"/>
              <a:gd name="connsiteY3" fmla="*/ 1743202 h 4474427"/>
              <a:gd name="connsiteX4" fmla="*/ 3562740 w 9076480"/>
              <a:gd name="connsiteY4" fmla="*/ 2313045 h 4474427"/>
              <a:gd name="connsiteX5" fmla="*/ 1548410 w 9076480"/>
              <a:gd name="connsiteY5" fmla="*/ 3147932 h 4474427"/>
              <a:gd name="connsiteX6" fmla="*/ 1694184 w 9076480"/>
              <a:gd name="connsiteY6" fmla="*/ 4473149 h 4474427"/>
              <a:gd name="connsiteX7" fmla="*/ 7988966 w 9076480"/>
              <a:gd name="connsiteY7" fmla="*/ 3386471 h 4474427"/>
              <a:gd name="connsiteX8" fmla="*/ 8982879 w 9076480"/>
              <a:gd name="connsiteY8" fmla="*/ 3108176 h 4474427"/>
              <a:gd name="connsiteX9" fmla="*/ 9022636 w 9076480"/>
              <a:gd name="connsiteY9" fmla="*/ 3134680 h 4474427"/>
              <a:gd name="connsiteX0" fmla="*/ 0 w 9228309"/>
              <a:gd name="connsiteY0" fmla="*/ 767139 h 4502139"/>
              <a:gd name="connsiteX1" fmla="*/ 3734638 w 9228309"/>
              <a:gd name="connsiteY1" fmla="*/ 139355 h 4502139"/>
              <a:gd name="connsiteX2" fmla="*/ 9018780 w 9228309"/>
              <a:gd name="connsiteY2" fmla="*/ 151374 h 4502139"/>
              <a:gd name="connsiteX3" fmla="*/ 7723923 w 9228309"/>
              <a:gd name="connsiteY3" fmla="*/ 1770914 h 4502139"/>
              <a:gd name="connsiteX4" fmla="*/ 3562740 w 9228309"/>
              <a:gd name="connsiteY4" fmla="*/ 2340757 h 4502139"/>
              <a:gd name="connsiteX5" fmla="*/ 1548410 w 9228309"/>
              <a:gd name="connsiteY5" fmla="*/ 3175644 h 4502139"/>
              <a:gd name="connsiteX6" fmla="*/ 1694184 w 9228309"/>
              <a:gd name="connsiteY6" fmla="*/ 4500861 h 4502139"/>
              <a:gd name="connsiteX7" fmla="*/ 7988966 w 9228309"/>
              <a:gd name="connsiteY7" fmla="*/ 3414183 h 4502139"/>
              <a:gd name="connsiteX8" fmla="*/ 8982879 w 9228309"/>
              <a:gd name="connsiteY8" fmla="*/ 3135888 h 4502139"/>
              <a:gd name="connsiteX9" fmla="*/ 9022636 w 9228309"/>
              <a:gd name="connsiteY9" fmla="*/ 3162392 h 4502139"/>
              <a:gd name="connsiteX0" fmla="*/ 0 w 9808775"/>
              <a:gd name="connsiteY0" fmla="*/ 771686 h 4506686"/>
              <a:gd name="connsiteX1" fmla="*/ 3734638 w 9808775"/>
              <a:gd name="connsiteY1" fmla="*/ 143902 h 4506686"/>
              <a:gd name="connsiteX2" fmla="*/ 9018780 w 9808775"/>
              <a:gd name="connsiteY2" fmla="*/ 155921 h 4506686"/>
              <a:gd name="connsiteX3" fmla="*/ 9216038 w 9808775"/>
              <a:gd name="connsiteY3" fmla="*/ 1839256 h 4506686"/>
              <a:gd name="connsiteX4" fmla="*/ 3562740 w 9808775"/>
              <a:gd name="connsiteY4" fmla="*/ 2345304 h 4506686"/>
              <a:gd name="connsiteX5" fmla="*/ 1548410 w 9808775"/>
              <a:gd name="connsiteY5" fmla="*/ 3180191 h 4506686"/>
              <a:gd name="connsiteX6" fmla="*/ 1694184 w 9808775"/>
              <a:gd name="connsiteY6" fmla="*/ 4505408 h 4506686"/>
              <a:gd name="connsiteX7" fmla="*/ 7988966 w 9808775"/>
              <a:gd name="connsiteY7" fmla="*/ 3418730 h 4506686"/>
              <a:gd name="connsiteX8" fmla="*/ 8982879 w 9808775"/>
              <a:gd name="connsiteY8" fmla="*/ 3140435 h 4506686"/>
              <a:gd name="connsiteX9" fmla="*/ 9022636 w 9808775"/>
              <a:gd name="connsiteY9" fmla="*/ 3166939 h 4506686"/>
              <a:gd name="connsiteX0" fmla="*/ 0 w 9808775"/>
              <a:gd name="connsiteY0" fmla="*/ 771686 h 4518323"/>
              <a:gd name="connsiteX1" fmla="*/ 3734638 w 9808775"/>
              <a:gd name="connsiteY1" fmla="*/ 143902 h 4518323"/>
              <a:gd name="connsiteX2" fmla="*/ 9018780 w 9808775"/>
              <a:gd name="connsiteY2" fmla="*/ 155921 h 4518323"/>
              <a:gd name="connsiteX3" fmla="*/ 9216038 w 9808775"/>
              <a:gd name="connsiteY3" fmla="*/ 1839256 h 4518323"/>
              <a:gd name="connsiteX4" fmla="*/ 3562740 w 9808775"/>
              <a:gd name="connsiteY4" fmla="*/ 2345304 h 4518323"/>
              <a:gd name="connsiteX5" fmla="*/ 201546 w 9808775"/>
              <a:gd name="connsiteY5" fmla="*/ 2595400 h 4518323"/>
              <a:gd name="connsiteX6" fmla="*/ 1694184 w 9808775"/>
              <a:gd name="connsiteY6" fmla="*/ 4505408 h 4518323"/>
              <a:gd name="connsiteX7" fmla="*/ 7988966 w 9808775"/>
              <a:gd name="connsiteY7" fmla="*/ 3418730 h 4518323"/>
              <a:gd name="connsiteX8" fmla="*/ 8982879 w 9808775"/>
              <a:gd name="connsiteY8" fmla="*/ 3140435 h 4518323"/>
              <a:gd name="connsiteX9" fmla="*/ 9022636 w 9808775"/>
              <a:gd name="connsiteY9" fmla="*/ 3166939 h 4518323"/>
              <a:gd name="connsiteX0" fmla="*/ 0 w 9808775"/>
              <a:gd name="connsiteY0" fmla="*/ 771686 h 4685199"/>
              <a:gd name="connsiteX1" fmla="*/ 3734638 w 9808775"/>
              <a:gd name="connsiteY1" fmla="*/ 143902 h 4685199"/>
              <a:gd name="connsiteX2" fmla="*/ 9018780 w 9808775"/>
              <a:gd name="connsiteY2" fmla="*/ 155921 h 4685199"/>
              <a:gd name="connsiteX3" fmla="*/ 9216038 w 9808775"/>
              <a:gd name="connsiteY3" fmla="*/ 1839256 h 4685199"/>
              <a:gd name="connsiteX4" fmla="*/ 3562740 w 9808775"/>
              <a:gd name="connsiteY4" fmla="*/ 2345304 h 4685199"/>
              <a:gd name="connsiteX5" fmla="*/ 201546 w 9808775"/>
              <a:gd name="connsiteY5" fmla="*/ 2595400 h 4685199"/>
              <a:gd name="connsiteX6" fmla="*/ 1694184 w 9808775"/>
              <a:gd name="connsiteY6" fmla="*/ 4505408 h 4685199"/>
              <a:gd name="connsiteX7" fmla="*/ 8147421 w 9808775"/>
              <a:gd name="connsiteY7" fmla="*/ 4450088 h 4685199"/>
              <a:gd name="connsiteX8" fmla="*/ 8982879 w 9808775"/>
              <a:gd name="connsiteY8" fmla="*/ 3140435 h 4685199"/>
              <a:gd name="connsiteX9" fmla="*/ 9022636 w 9808775"/>
              <a:gd name="connsiteY9" fmla="*/ 3166939 h 4685199"/>
              <a:gd name="connsiteX0" fmla="*/ 0 w 9808775"/>
              <a:gd name="connsiteY0" fmla="*/ 771686 h 4685199"/>
              <a:gd name="connsiteX1" fmla="*/ 3734638 w 9808775"/>
              <a:gd name="connsiteY1" fmla="*/ 143902 h 4685199"/>
              <a:gd name="connsiteX2" fmla="*/ 9018780 w 9808775"/>
              <a:gd name="connsiteY2" fmla="*/ 155921 h 4685199"/>
              <a:gd name="connsiteX3" fmla="*/ 9216038 w 9808775"/>
              <a:gd name="connsiteY3" fmla="*/ 1839256 h 4685199"/>
              <a:gd name="connsiteX4" fmla="*/ 3562740 w 9808775"/>
              <a:gd name="connsiteY4" fmla="*/ 2345304 h 4685199"/>
              <a:gd name="connsiteX5" fmla="*/ 201546 w 9808775"/>
              <a:gd name="connsiteY5" fmla="*/ 2595400 h 4685199"/>
              <a:gd name="connsiteX6" fmla="*/ 1694184 w 9808775"/>
              <a:gd name="connsiteY6" fmla="*/ 4505408 h 4685199"/>
              <a:gd name="connsiteX7" fmla="*/ 8147421 w 9808775"/>
              <a:gd name="connsiteY7" fmla="*/ 4450088 h 4685199"/>
              <a:gd name="connsiteX8" fmla="*/ 8982879 w 9808775"/>
              <a:gd name="connsiteY8" fmla="*/ 3140435 h 4685199"/>
              <a:gd name="connsiteX9" fmla="*/ 9656455 w 9808775"/>
              <a:gd name="connsiteY9" fmla="*/ 3634772 h 4685199"/>
              <a:gd name="connsiteX0" fmla="*/ 0 w 9808775"/>
              <a:gd name="connsiteY0" fmla="*/ 771686 h 4646330"/>
              <a:gd name="connsiteX1" fmla="*/ 3734638 w 9808775"/>
              <a:gd name="connsiteY1" fmla="*/ 143902 h 4646330"/>
              <a:gd name="connsiteX2" fmla="*/ 9018780 w 9808775"/>
              <a:gd name="connsiteY2" fmla="*/ 155921 h 4646330"/>
              <a:gd name="connsiteX3" fmla="*/ 9216038 w 9808775"/>
              <a:gd name="connsiteY3" fmla="*/ 1839256 h 4646330"/>
              <a:gd name="connsiteX4" fmla="*/ 3562740 w 9808775"/>
              <a:gd name="connsiteY4" fmla="*/ 2345304 h 4646330"/>
              <a:gd name="connsiteX5" fmla="*/ 201546 w 9808775"/>
              <a:gd name="connsiteY5" fmla="*/ 2595400 h 4646330"/>
              <a:gd name="connsiteX6" fmla="*/ 1694184 w 9808775"/>
              <a:gd name="connsiteY6" fmla="*/ 4505408 h 4646330"/>
              <a:gd name="connsiteX7" fmla="*/ 8147421 w 9808775"/>
              <a:gd name="connsiteY7" fmla="*/ 4450088 h 4646330"/>
              <a:gd name="connsiteX8" fmla="*/ 9260174 w 9808775"/>
              <a:gd name="connsiteY8" fmla="*/ 4022937 h 4646330"/>
              <a:gd name="connsiteX9" fmla="*/ 9656455 w 9808775"/>
              <a:gd name="connsiteY9" fmla="*/ 3634772 h 4646330"/>
              <a:gd name="connsiteX0" fmla="*/ 0 w 9808775"/>
              <a:gd name="connsiteY0" fmla="*/ 771686 h 4646330"/>
              <a:gd name="connsiteX1" fmla="*/ 3734638 w 9808775"/>
              <a:gd name="connsiteY1" fmla="*/ 143902 h 4646330"/>
              <a:gd name="connsiteX2" fmla="*/ 9018780 w 9808775"/>
              <a:gd name="connsiteY2" fmla="*/ 155921 h 4646330"/>
              <a:gd name="connsiteX3" fmla="*/ 9216038 w 9808775"/>
              <a:gd name="connsiteY3" fmla="*/ 1839256 h 4646330"/>
              <a:gd name="connsiteX4" fmla="*/ 3562740 w 9808775"/>
              <a:gd name="connsiteY4" fmla="*/ 2345304 h 4646330"/>
              <a:gd name="connsiteX5" fmla="*/ 201546 w 9808775"/>
              <a:gd name="connsiteY5" fmla="*/ 2595400 h 4646330"/>
              <a:gd name="connsiteX6" fmla="*/ 1694184 w 9808775"/>
              <a:gd name="connsiteY6" fmla="*/ 4505408 h 4646330"/>
              <a:gd name="connsiteX7" fmla="*/ 8147421 w 9808775"/>
              <a:gd name="connsiteY7" fmla="*/ 4450088 h 4646330"/>
              <a:gd name="connsiteX8" fmla="*/ 9260174 w 9808775"/>
              <a:gd name="connsiteY8" fmla="*/ 4022937 h 4646330"/>
              <a:gd name="connsiteX9" fmla="*/ 9326342 w 9808775"/>
              <a:gd name="connsiteY9" fmla="*/ 3975013 h 4646330"/>
              <a:gd name="connsiteX0" fmla="*/ 61649 w 9698765"/>
              <a:gd name="connsiteY0" fmla="*/ 961675 h 4655565"/>
              <a:gd name="connsiteX1" fmla="*/ 3624628 w 9698765"/>
              <a:gd name="connsiteY1" fmla="*/ 153137 h 4655565"/>
              <a:gd name="connsiteX2" fmla="*/ 8908770 w 9698765"/>
              <a:gd name="connsiteY2" fmla="*/ 165156 h 4655565"/>
              <a:gd name="connsiteX3" fmla="*/ 9106028 w 9698765"/>
              <a:gd name="connsiteY3" fmla="*/ 1848491 h 4655565"/>
              <a:gd name="connsiteX4" fmla="*/ 3452730 w 9698765"/>
              <a:gd name="connsiteY4" fmla="*/ 2354539 h 4655565"/>
              <a:gd name="connsiteX5" fmla="*/ 91536 w 9698765"/>
              <a:gd name="connsiteY5" fmla="*/ 2604635 h 4655565"/>
              <a:gd name="connsiteX6" fmla="*/ 1584174 w 9698765"/>
              <a:gd name="connsiteY6" fmla="*/ 4514643 h 4655565"/>
              <a:gd name="connsiteX7" fmla="*/ 8037411 w 9698765"/>
              <a:gd name="connsiteY7" fmla="*/ 4459323 h 4655565"/>
              <a:gd name="connsiteX8" fmla="*/ 9150164 w 9698765"/>
              <a:gd name="connsiteY8" fmla="*/ 4032172 h 4655565"/>
              <a:gd name="connsiteX9" fmla="*/ 9216332 w 9698765"/>
              <a:gd name="connsiteY9" fmla="*/ 3984248 h 4655565"/>
              <a:gd name="connsiteX0" fmla="*/ 0 w 9954025"/>
              <a:gd name="connsiteY0" fmla="*/ 1376963 h 4677448"/>
              <a:gd name="connsiteX1" fmla="*/ 3879888 w 9954025"/>
              <a:gd name="connsiteY1" fmla="*/ 175020 h 4677448"/>
              <a:gd name="connsiteX2" fmla="*/ 9164030 w 9954025"/>
              <a:gd name="connsiteY2" fmla="*/ 187039 h 4677448"/>
              <a:gd name="connsiteX3" fmla="*/ 9361288 w 9954025"/>
              <a:gd name="connsiteY3" fmla="*/ 1870374 h 4677448"/>
              <a:gd name="connsiteX4" fmla="*/ 3707990 w 9954025"/>
              <a:gd name="connsiteY4" fmla="*/ 2376422 h 4677448"/>
              <a:gd name="connsiteX5" fmla="*/ 346796 w 9954025"/>
              <a:gd name="connsiteY5" fmla="*/ 2626518 h 4677448"/>
              <a:gd name="connsiteX6" fmla="*/ 1839434 w 9954025"/>
              <a:gd name="connsiteY6" fmla="*/ 4536526 h 4677448"/>
              <a:gd name="connsiteX7" fmla="*/ 8292671 w 9954025"/>
              <a:gd name="connsiteY7" fmla="*/ 4481206 h 4677448"/>
              <a:gd name="connsiteX8" fmla="*/ 9405424 w 9954025"/>
              <a:gd name="connsiteY8" fmla="*/ 4054055 h 4677448"/>
              <a:gd name="connsiteX9" fmla="*/ 9471592 w 9954025"/>
              <a:gd name="connsiteY9" fmla="*/ 4006131 h 4677448"/>
              <a:gd name="connsiteX0" fmla="*/ 0 w 10112480"/>
              <a:gd name="connsiteY0" fmla="*/ 1467038 h 4682463"/>
              <a:gd name="connsiteX1" fmla="*/ 4038343 w 10112480"/>
              <a:gd name="connsiteY1" fmla="*/ 180035 h 4682463"/>
              <a:gd name="connsiteX2" fmla="*/ 9322485 w 10112480"/>
              <a:gd name="connsiteY2" fmla="*/ 192054 h 4682463"/>
              <a:gd name="connsiteX3" fmla="*/ 9519743 w 10112480"/>
              <a:gd name="connsiteY3" fmla="*/ 1875389 h 4682463"/>
              <a:gd name="connsiteX4" fmla="*/ 3866445 w 10112480"/>
              <a:gd name="connsiteY4" fmla="*/ 2381437 h 4682463"/>
              <a:gd name="connsiteX5" fmla="*/ 505251 w 10112480"/>
              <a:gd name="connsiteY5" fmla="*/ 2631533 h 4682463"/>
              <a:gd name="connsiteX6" fmla="*/ 1997889 w 10112480"/>
              <a:gd name="connsiteY6" fmla="*/ 4541541 h 4682463"/>
              <a:gd name="connsiteX7" fmla="*/ 8451126 w 10112480"/>
              <a:gd name="connsiteY7" fmla="*/ 4486221 h 4682463"/>
              <a:gd name="connsiteX8" fmla="*/ 9563879 w 10112480"/>
              <a:gd name="connsiteY8" fmla="*/ 4059070 h 4682463"/>
              <a:gd name="connsiteX9" fmla="*/ 9630047 w 10112480"/>
              <a:gd name="connsiteY9" fmla="*/ 4011146 h 4682463"/>
              <a:gd name="connsiteX0" fmla="*/ 0 w 10112480"/>
              <a:gd name="connsiteY0" fmla="*/ 1467038 h 4716400"/>
              <a:gd name="connsiteX1" fmla="*/ 4038343 w 10112480"/>
              <a:gd name="connsiteY1" fmla="*/ 180035 h 4716400"/>
              <a:gd name="connsiteX2" fmla="*/ 9322485 w 10112480"/>
              <a:gd name="connsiteY2" fmla="*/ 192054 h 4716400"/>
              <a:gd name="connsiteX3" fmla="*/ 9519743 w 10112480"/>
              <a:gd name="connsiteY3" fmla="*/ 1875389 h 4716400"/>
              <a:gd name="connsiteX4" fmla="*/ 3866445 w 10112480"/>
              <a:gd name="connsiteY4" fmla="*/ 2381437 h 4716400"/>
              <a:gd name="connsiteX5" fmla="*/ 505251 w 10112480"/>
              <a:gd name="connsiteY5" fmla="*/ 2631533 h 4716400"/>
              <a:gd name="connsiteX6" fmla="*/ 507287 w 10112480"/>
              <a:gd name="connsiteY6" fmla="*/ 4581380 h 4716400"/>
              <a:gd name="connsiteX7" fmla="*/ 1997889 w 10112480"/>
              <a:gd name="connsiteY7" fmla="*/ 4541541 h 4716400"/>
              <a:gd name="connsiteX8" fmla="*/ 8451126 w 10112480"/>
              <a:gd name="connsiteY8" fmla="*/ 4486221 h 4716400"/>
              <a:gd name="connsiteX9" fmla="*/ 9563879 w 10112480"/>
              <a:gd name="connsiteY9" fmla="*/ 4059070 h 4716400"/>
              <a:gd name="connsiteX10" fmla="*/ 9630047 w 10112480"/>
              <a:gd name="connsiteY10" fmla="*/ 4011146 h 4716400"/>
              <a:gd name="connsiteX0" fmla="*/ 0 w 10112480"/>
              <a:gd name="connsiteY0" fmla="*/ 1467038 h 4758745"/>
              <a:gd name="connsiteX1" fmla="*/ 4038343 w 10112480"/>
              <a:gd name="connsiteY1" fmla="*/ 180035 h 4758745"/>
              <a:gd name="connsiteX2" fmla="*/ 9322485 w 10112480"/>
              <a:gd name="connsiteY2" fmla="*/ 192054 h 4758745"/>
              <a:gd name="connsiteX3" fmla="*/ 9519743 w 10112480"/>
              <a:gd name="connsiteY3" fmla="*/ 1875389 h 4758745"/>
              <a:gd name="connsiteX4" fmla="*/ 3866445 w 10112480"/>
              <a:gd name="connsiteY4" fmla="*/ 2381437 h 4758745"/>
              <a:gd name="connsiteX5" fmla="*/ 505251 w 10112480"/>
              <a:gd name="connsiteY5" fmla="*/ 2631533 h 4758745"/>
              <a:gd name="connsiteX6" fmla="*/ 507287 w 10112480"/>
              <a:gd name="connsiteY6" fmla="*/ 4581380 h 4758745"/>
              <a:gd name="connsiteX7" fmla="*/ 2011095 w 10112480"/>
              <a:gd name="connsiteY7" fmla="*/ 4679765 h 4758745"/>
              <a:gd name="connsiteX8" fmla="*/ 8451126 w 10112480"/>
              <a:gd name="connsiteY8" fmla="*/ 4486221 h 4758745"/>
              <a:gd name="connsiteX9" fmla="*/ 9563879 w 10112480"/>
              <a:gd name="connsiteY9" fmla="*/ 4059070 h 4758745"/>
              <a:gd name="connsiteX10" fmla="*/ 9630047 w 10112480"/>
              <a:gd name="connsiteY10" fmla="*/ 4011146 h 4758745"/>
              <a:gd name="connsiteX0" fmla="*/ 0 w 10112480"/>
              <a:gd name="connsiteY0" fmla="*/ 1467038 h 4755410"/>
              <a:gd name="connsiteX1" fmla="*/ 4038343 w 10112480"/>
              <a:gd name="connsiteY1" fmla="*/ 180035 h 4755410"/>
              <a:gd name="connsiteX2" fmla="*/ 9322485 w 10112480"/>
              <a:gd name="connsiteY2" fmla="*/ 192054 h 4755410"/>
              <a:gd name="connsiteX3" fmla="*/ 9519743 w 10112480"/>
              <a:gd name="connsiteY3" fmla="*/ 1875389 h 4755410"/>
              <a:gd name="connsiteX4" fmla="*/ 3866445 w 10112480"/>
              <a:gd name="connsiteY4" fmla="*/ 2381437 h 4755410"/>
              <a:gd name="connsiteX5" fmla="*/ 505251 w 10112480"/>
              <a:gd name="connsiteY5" fmla="*/ 2631533 h 4755410"/>
              <a:gd name="connsiteX6" fmla="*/ 507287 w 10112480"/>
              <a:gd name="connsiteY6" fmla="*/ 4581380 h 4755410"/>
              <a:gd name="connsiteX7" fmla="*/ 2011095 w 10112480"/>
              <a:gd name="connsiteY7" fmla="*/ 4679765 h 4755410"/>
              <a:gd name="connsiteX8" fmla="*/ 8543558 w 10112480"/>
              <a:gd name="connsiteY8" fmla="*/ 4550016 h 4755410"/>
              <a:gd name="connsiteX9" fmla="*/ 9563879 w 10112480"/>
              <a:gd name="connsiteY9" fmla="*/ 4059070 h 4755410"/>
              <a:gd name="connsiteX10" fmla="*/ 9630047 w 10112480"/>
              <a:gd name="connsiteY10" fmla="*/ 4011146 h 4755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12480" h="4755410">
                <a:moveTo>
                  <a:pt x="0" y="1467038"/>
                </a:moveTo>
                <a:cubicBezTo>
                  <a:pt x="909982" y="734855"/>
                  <a:pt x="2484596" y="392532"/>
                  <a:pt x="4038343" y="180035"/>
                </a:cubicBezTo>
                <a:cubicBezTo>
                  <a:pt x="5592090" y="-32462"/>
                  <a:pt x="8408918" y="-90505"/>
                  <a:pt x="9322485" y="192054"/>
                </a:cubicBezTo>
                <a:cubicBezTo>
                  <a:pt x="10236052" y="474613"/>
                  <a:pt x="10429083" y="1510492"/>
                  <a:pt x="9519743" y="1875389"/>
                </a:cubicBezTo>
                <a:cubicBezTo>
                  <a:pt x="8610403" y="2240286"/>
                  <a:pt x="5368860" y="2255413"/>
                  <a:pt x="3866445" y="2381437"/>
                </a:cubicBezTo>
                <a:cubicBezTo>
                  <a:pt x="2364030" y="2507461"/>
                  <a:pt x="1065111" y="2264876"/>
                  <a:pt x="505251" y="2631533"/>
                </a:cubicBezTo>
                <a:cubicBezTo>
                  <a:pt x="-54609" y="2998190"/>
                  <a:pt x="258514" y="4263045"/>
                  <a:pt x="507287" y="4581380"/>
                </a:cubicBezTo>
                <a:cubicBezTo>
                  <a:pt x="756060" y="4899715"/>
                  <a:pt x="671717" y="4684992"/>
                  <a:pt x="2011095" y="4679765"/>
                </a:cubicBezTo>
                <a:cubicBezTo>
                  <a:pt x="3350473" y="4674538"/>
                  <a:pt x="7284761" y="4653465"/>
                  <a:pt x="8543558" y="4550016"/>
                </a:cubicBezTo>
                <a:cubicBezTo>
                  <a:pt x="9802355" y="4446567"/>
                  <a:pt x="9391601" y="4101035"/>
                  <a:pt x="9563879" y="4059070"/>
                </a:cubicBezTo>
                <a:cubicBezTo>
                  <a:pt x="9736157" y="4017105"/>
                  <a:pt x="9647717" y="3951511"/>
                  <a:pt x="9630047" y="4011146"/>
                </a:cubicBezTo>
              </a:path>
            </a:pathLst>
          </a:custGeom>
          <a:noFill/>
          <a:ln w="12700">
            <a:solidFill>
              <a:schemeClr val="accent6"/>
            </a:solidFill>
            <a:prstDash val="sysDot"/>
            <a:headEnd type="ova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dirty="0">
              <a:latin typeface="Georgia" panose="02040502050405020303" pitchFamily="18" charset="0"/>
            </a:endParaRPr>
          </a:p>
        </p:txBody>
      </p:sp>
      <p:pic>
        <p:nvPicPr>
          <p:cNvPr id="20" name="Picture 19"/>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rot="21250894">
            <a:off x="4098600" y="859137"/>
            <a:ext cx="1222201" cy="951629"/>
          </a:xfrm>
          <a:prstGeom prst="rect">
            <a:avLst/>
          </a:prstGeom>
        </p:spPr>
      </p:pic>
      <p:sp>
        <p:nvSpPr>
          <p:cNvPr id="22" name="Rectangle 21"/>
          <p:cNvSpPr/>
          <p:nvPr/>
        </p:nvSpPr>
        <p:spPr>
          <a:xfrm>
            <a:off x="3940762" y="1784623"/>
            <a:ext cx="1791479" cy="307777"/>
          </a:xfrm>
          <a:prstGeom prst="rect">
            <a:avLst/>
          </a:prstGeom>
        </p:spPr>
        <p:txBody>
          <a:bodyPr wrap="square">
            <a:spAutoFit/>
          </a:bodyPr>
          <a:lstStyle/>
          <a:p>
            <a:r>
              <a:rPr lang="nb-NO" sz="1400" b="1" dirty="0">
                <a:latin typeface="Georgia" panose="02040502050405020303" pitchFamily="18" charset="0"/>
              </a:rPr>
              <a:t>WS1: </a:t>
            </a:r>
            <a:r>
              <a:rPr lang="nb-NO" sz="1400" b="1" dirty="0" err="1">
                <a:latin typeface="Georgia" panose="02040502050405020303" pitchFamily="18" charset="0"/>
              </a:rPr>
              <a:t>Nåsituajson</a:t>
            </a:r>
            <a:endParaRPr lang="nb-NO" sz="1400" b="1" dirty="0">
              <a:latin typeface="Georgia" panose="02040502050405020303" pitchFamily="18" charset="0"/>
            </a:endParaRPr>
          </a:p>
        </p:txBody>
      </p:sp>
      <p:sp>
        <p:nvSpPr>
          <p:cNvPr id="94" name="Rectangle 93"/>
          <p:cNvSpPr/>
          <p:nvPr/>
        </p:nvSpPr>
        <p:spPr>
          <a:xfrm>
            <a:off x="5992572" y="1470404"/>
            <a:ext cx="2100975" cy="461665"/>
          </a:xfrm>
          <a:prstGeom prst="rect">
            <a:avLst/>
          </a:prstGeom>
          <a:ln w="38100">
            <a:solidFill>
              <a:schemeClr val="bg2">
                <a:lumMod val="40000"/>
                <a:lumOff val="60000"/>
              </a:schemeClr>
            </a:solidFill>
          </a:ln>
        </p:spPr>
        <p:txBody>
          <a:bodyPr wrap="square">
            <a:spAutoFit/>
          </a:bodyPr>
          <a:lstStyle/>
          <a:p>
            <a:r>
              <a:rPr lang="nb-NO" sz="1200" dirty="0">
                <a:latin typeface="Georgia" panose="02040502050405020303" pitchFamily="18" charset="0"/>
              </a:rPr>
              <a:t>Prosessleder tegner opp og </a:t>
            </a:r>
            <a:r>
              <a:rPr lang="nb-NO" sz="1200" dirty="0" err="1">
                <a:latin typeface="Georgia" panose="02040502050405020303" pitchFamily="18" charset="0"/>
              </a:rPr>
              <a:t>kvalitetssikrer</a:t>
            </a:r>
            <a:r>
              <a:rPr lang="nb-NO" sz="1200" dirty="0">
                <a:latin typeface="Georgia" panose="02040502050405020303" pitchFamily="18" charset="0"/>
              </a:rPr>
              <a:t> prosessen </a:t>
            </a:r>
          </a:p>
        </p:txBody>
      </p:sp>
      <p:sp>
        <p:nvSpPr>
          <p:cNvPr id="174" name="Rectangle 173"/>
          <p:cNvSpPr/>
          <p:nvPr/>
        </p:nvSpPr>
        <p:spPr>
          <a:xfrm>
            <a:off x="1964436" y="1916335"/>
            <a:ext cx="567610" cy="276999"/>
          </a:xfrm>
          <a:prstGeom prst="rect">
            <a:avLst/>
          </a:prstGeom>
        </p:spPr>
        <p:txBody>
          <a:bodyPr wrap="square">
            <a:spAutoFit/>
          </a:bodyPr>
          <a:lstStyle/>
          <a:p>
            <a:r>
              <a:rPr lang="nb-NO" sz="1200" dirty="0">
                <a:solidFill>
                  <a:schemeClr val="accent4"/>
                </a:solidFill>
                <a:latin typeface="Georgia" panose="02040502050405020303" pitchFamily="18" charset="0"/>
              </a:rPr>
              <a:t>Start</a:t>
            </a:r>
          </a:p>
        </p:txBody>
      </p:sp>
      <p:sp>
        <p:nvSpPr>
          <p:cNvPr id="177" name="Rectangle 176"/>
          <p:cNvSpPr/>
          <p:nvPr/>
        </p:nvSpPr>
        <p:spPr>
          <a:xfrm>
            <a:off x="5173949" y="5992223"/>
            <a:ext cx="2346815" cy="307777"/>
          </a:xfrm>
          <a:prstGeom prst="rect">
            <a:avLst/>
          </a:prstGeom>
        </p:spPr>
        <p:txBody>
          <a:bodyPr wrap="square">
            <a:spAutoFit/>
          </a:bodyPr>
          <a:lstStyle/>
          <a:p>
            <a:r>
              <a:rPr lang="nb-NO" sz="1400" b="1" dirty="0">
                <a:latin typeface="Georgia" panose="02040502050405020303" pitchFamily="18" charset="0"/>
              </a:rPr>
              <a:t>WS 5: planlegge testing</a:t>
            </a:r>
          </a:p>
        </p:txBody>
      </p:sp>
      <p:sp>
        <p:nvSpPr>
          <p:cNvPr id="178" name="Rectangle 177"/>
          <p:cNvSpPr/>
          <p:nvPr/>
        </p:nvSpPr>
        <p:spPr>
          <a:xfrm>
            <a:off x="6045711" y="3756420"/>
            <a:ext cx="1904083" cy="523220"/>
          </a:xfrm>
          <a:prstGeom prst="rect">
            <a:avLst/>
          </a:prstGeom>
        </p:spPr>
        <p:txBody>
          <a:bodyPr wrap="square">
            <a:spAutoFit/>
          </a:bodyPr>
          <a:lstStyle/>
          <a:p>
            <a:r>
              <a:rPr lang="nb-NO" sz="1400" b="1" dirty="0">
                <a:latin typeface="Georgia" panose="02040502050405020303" pitchFamily="18" charset="0"/>
              </a:rPr>
              <a:t>WS 3: ønsket situasjon</a:t>
            </a:r>
          </a:p>
        </p:txBody>
      </p:sp>
      <p:sp>
        <p:nvSpPr>
          <p:cNvPr id="258" name="Rectangle 257"/>
          <p:cNvSpPr/>
          <p:nvPr/>
        </p:nvSpPr>
        <p:spPr>
          <a:xfrm>
            <a:off x="1673897" y="3814191"/>
            <a:ext cx="2266864" cy="307777"/>
          </a:xfrm>
          <a:prstGeom prst="rect">
            <a:avLst/>
          </a:prstGeom>
        </p:spPr>
        <p:txBody>
          <a:bodyPr wrap="square">
            <a:spAutoFit/>
          </a:bodyPr>
          <a:lstStyle/>
          <a:p>
            <a:r>
              <a:rPr lang="nb-NO" sz="1400" b="1" dirty="0">
                <a:latin typeface="Georgia" panose="02040502050405020303" pitchFamily="18" charset="0"/>
              </a:rPr>
              <a:t>WS 4: ønsket situasjon</a:t>
            </a:r>
          </a:p>
        </p:txBody>
      </p:sp>
      <p:sp>
        <p:nvSpPr>
          <p:cNvPr id="266" name="Rectangle 265"/>
          <p:cNvSpPr/>
          <p:nvPr/>
        </p:nvSpPr>
        <p:spPr>
          <a:xfrm>
            <a:off x="8317733" y="1274043"/>
            <a:ext cx="1558904" cy="523220"/>
          </a:xfrm>
          <a:prstGeom prst="rect">
            <a:avLst/>
          </a:prstGeom>
        </p:spPr>
        <p:txBody>
          <a:bodyPr wrap="square">
            <a:spAutoFit/>
          </a:bodyPr>
          <a:lstStyle/>
          <a:p>
            <a:pPr algn="ctr"/>
            <a:r>
              <a:rPr lang="nb-NO" sz="1400" b="1" dirty="0">
                <a:latin typeface="Georgia" panose="02040502050405020303" pitchFamily="18" charset="0"/>
              </a:rPr>
              <a:t>WS 2: </a:t>
            </a:r>
            <a:r>
              <a:rPr lang="nb-NO" sz="1400" b="1" dirty="0" err="1">
                <a:latin typeface="Georgia" panose="02040502050405020303" pitchFamily="18" charset="0"/>
              </a:rPr>
              <a:t>Nåsituajson</a:t>
            </a:r>
            <a:endParaRPr lang="nb-NO" sz="1400" b="1" dirty="0">
              <a:latin typeface="Georgia" panose="02040502050405020303" pitchFamily="18" charset="0"/>
            </a:endParaRPr>
          </a:p>
        </p:txBody>
      </p:sp>
      <p:sp>
        <p:nvSpPr>
          <p:cNvPr id="335" name="Rectangle 334"/>
          <p:cNvSpPr/>
          <p:nvPr/>
        </p:nvSpPr>
        <p:spPr>
          <a:xfrm>
            <a:off x="9753376" y="4577708"/>
            <a:ext cx="499590" cy="461665"/>
          </a:xfrm>
          <a:prstGeom prst="rect">
            <a:avLst/>
          </a:prstGeom>
        </p:spPr>
        <p:txBody>
          <a:bodyPr wrap="square">
            <a:spAutoFit/>
          </a:bodyPr>
          <a:lstStyle/>
          <a:p>
            <a:r>
              <a:rPr lang="nb-NO" sz="1200" dirty="0">
                <a:latin typeface="Georgia" panose="02040502050405020303" pitchFamily="18" charset="0"/>
              </a:rPr>
              <a:t>Slutt</a:t>
            </a:r>
          </a:p>
        </p:txBody>
      </p:sp>
      <p:pic>
        <p:nvPicPr>
          <p:cNvPr id="336" name="Picture 335"/>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rot="21250894">
            <a:off x="1673992" y="4150690"/>
            <a:ext cx="1222201" cy="951629"/>
          </a:xfrm>
          <a:prstGeom prst="rect">
            <a:avLst/>
          </a:prstGeom>
        </p:spPr>
      </p:pic>
      <p:pic>
        <p:nvPicPr>
          <p:cNvPr id="337" name="Picture 336"/>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rot="21250894">
            <a:off x="6442452" y="2662720"/>
            <a:ext cx="1222201" cy="951629"/>
          </a:xfrm>
          <a:prstGeom prst="rect">
            <a:avLst/>
          </a:prstGeom>
        </p:spPr>
      </p:pic>
      <p:pic>
        <p:nvPicPr>
          <p:cNvPr id="338" name="Picture 337"/>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rot="21250894">
            <a:off x="8486086" y="251547"/>
            <a:ext cx="1222201" cy="951629"/>
          </a:xfrm>
          <a:prstGeom prst="rect">
            <a:avLst/>
          </a:prstGeom>
        </p:spPr>
      </p:pic>
      <p:pic>
        <p:nvPicPr>
          <p:cNvPr id="339" name="Picture 338"/>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rot="21250894">
            <a:off x="5373176" y="4981094"/>
            <a:ext cx="1222201" cy="951629"/>
          </a:xfrm>
          <a:prstGeom prst="rect">
            <a:avLst/>
          </a:prstGeom>
        </p:spPr>
      </p:pic>
      <p:pic>
        <p:nvPicPr>
          <p:cNvPr id="86023" name="Picture 7" descr="https://static.thenounproject.com/png/654978-200.png">
            <a:hlinkClick r:id="rId9" tooltip="Flag"/>
          </p:cNvPr>
          <p:cNvPicPr>
            <a:picLocks noChangeAspect="1" noChangeArrowheads="1"/>
          </p:cNvPicPr>
          <p:nvPr/>
        </p:nvPicPr>
        <p:blipFill>
          <a:blip r:embed="rId10">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20268" y="1639131"/>
            <a:ext cx="1081320" cy="1081320"/>
          </a:xfrm>
          <a:prstGeom prst="rect">
            <a:avLst/>
          </a:prstGeom>
          <a:noFill/>
          <a:extLst>
            <a:ext uri="{909E8E84-426E-40DD-AFC4-6F175D3DCCD1}">
              <a14:hiddenFill xmlns:a14="http://schemas.microsoft.com/office/drawing/2010/main">
                <a:solidFill>
                  <a:srgbClr val="FFFFFF"/>
                </a:solidFill>
              </a14:hiddenFill>
            </a:ext>
          </a:extLst>
        </p:spPr>
      </p:pic>
      <p:pic>
        <p:nvPicPr>
          <p:cNvPr id="340" name="Picture 7" descr="https://static.thenounproject.com/png/654978-200.png">
            <a:hlinkClick r:id="rId9" tooltip="Flag"/>
          </p:cNvPr>
          <p:cNvPicPr>
            <a:picLocks noChangeAspect="1" noChangeArrowheads="1"/>
          </p:cNvPicPr>
          <p:nvPr/>
        </p:nvPicPr>
        <p:blipFill>
          <a:blip r:embed="rId10">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515068" y="4314046"/>
            <a:ext cx="1081320" cy="1081320"/>
          </a:xfrm>
          <a:prstGeom prst="rect">
            <a:avLst/>
          </a:prstGeom>
          <a:noFill/>
          <a:extLst>
            <a:ext uri="{909E8E84-426E-40DD-AFC4-6F175D3DCCD1}">
              <a14:hiddenFill xmlns:a14="http://schemas.microsoft.com/office/drawing/2010/main">
                <a:solidFill>
                  <a:srgbClr val="FFFFFF"/>
                </a:solidFill>
              </a14:hiddenFill>
            </a:ext>
          </a:extLst>
        </p:spPr>
      </p:pic>
      <p:pic>
        <p:nvPicPr>
          <p:cNvPr id="86026" name="Picture 10" descr="https://static.thenounproject.com/png/1893211-200.png">
            <a:hlinkClick r:id="rId11" tooltip="group"/>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46451" y="799636"/>
            <a:ext cx="694722" cy="694722"/>
          </a:xfrm>
          <a:prstGeom prst="rect">
            <a:avLst/>
          </a:prstGeom>
          <a:noFill/>
          <a:extLst>
            <a:ext uri="{909E8E84-426E-40DD-AFC4-6F175D3DCCD1}">
              <a14:hiddenFill xmlns:a14="http://schemas.microsoft.com/office/drawing/2010/main">
                <a:solidFill>
                  <a:srgbClr val="FFFFFF"/>
                </a:solidFill>
              </a14:hiddenFill>
            </a:ext>
          </a:extLst>
        </p:spPr>
      </p:pic>
      <p:pic>
        <p:nvPicPr>
          <p:cNvPr id="341" name="Picture 12" descr="https://static.thenounproject.com/png/1893224-200.png">
            <a:hlinkClick r:id="rId13" tooltip="Vote"/>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038580" y="5395366"/>
            <a:ext cx="795388" cy="795388"/>
          </a:xfrm>
          <a:prstGeom prst="rect">
            <a:avLst/>
          </a:prstGeom>
          <a:noFill/>
          <a:extLst>
            <a:ext uri="{909E8E84-426E-40DD-AFC4-6F175D3DCCD1}">
              <a14:hiddenFill xmlns:a14="http://schemas.microsoft.com/office/drawing/2010/main">
                <a:solidFill>
                  <a:srgbClr val="FFFFFF"/>
                </a:solidFill>
              </a14:hiddenFill>
            </a:ext>
          </a:extLst>
        </p:spPr>
      </p:pic>
      <p:sp>
        <p:nvSpPr>
          <p:cNvPr id="344" name="Rectangle 343"/>
          <p:cNvSpPr/>
          <p:nvPr/>
        </p:nvSpPr>
        <p:spPr>
          <a:xfrm>
            <a:off x="2038581" y="6069167"/>
            <a:ext cx="1803318" cy="461665"/>
          </a:xfrm>
          <a:prstGeom prst="rect">
            <a:avLst/>
          </a:prstGeom>
          <a:solidFill>
            <a:schemeClr val="bg1"/>
          </a:solidFill>
          <a:ln w="28575">
            <a:solidFill>
              <a:schemeClr val="bg2">
                <a:lumMod val="40000"/>
                <a:lumOff val="60000"/>
              </a:schemeClr>
            </a:solidFill>
          </a:ln>
        </p:spPr>
        <p:txBody>
          <a:bodyPr wrap="square">
            <a:spAutoFit/>
          </a:bodyPr>
          <a:lstStyle/>
          <a:p>
            <a:r>
              <a:rPr lang="nb-NO" sz="1200" dirty="0">
                <a:latin typeface="Georgia" panose="02040502050405020303" pitchFamily="18" charset="0"/>
              </a:rPr>
              <a:t>Godkjenner forslag og prioriterer tiltak</a:t>
            </a:r>
          </a:p>
        </p:txBody>
      </p:sp>
      <p:pic>
        <p:nvPicPr>
          <p:cNvPr id="346" name="Picture 12" descr="https://static.thenounproject.com/png/1893224-200.png">
            <a:hlinkClick r:id="rId13" tooltip="Vote"/>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8616" r="36222"/>
          <a:stretch/>
        </p:blipFill>
        <p:spPr bwMode="auto">
          <a:xfrm>
            <a:off x="1736659" y="621832"/>
            <a:ext cx="608947" cy="87252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auto">
          <a:xfrm>
            <a:off x="2239662" y="520996"/>
            <a:ext cx="281751" cy="321173"/>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2000">
              <a:latin typeface="Georgia" panose="02040502050405020303" pitchFamily="18" charset="0"/>
              <a:ea typeface="ヒラギノ角ゴ Pro W3" charset="-128"/>
              <a:cs typeface="ヒラギノ角ゴ Pro W3" charset="-128"/>
            </a:endParaRPr>
          </a:p>
        </p:txBody>
      </p:sp>
      <p:sp>
        <p:nvSpPr>
          <p:cNvPr id="118" name="Rectangle 117"/>
          <p:cNvSpPr/>
          <p:nvPr/>
        </p:nvSpPr>
        <p:spPr>
          <a:xfrm>
            <a:off x="2260929" y="621833"/>
            <a:ext cx="1146081" cy="646331"/>
          </a:xfrm>
          <a:prstGeom prst="rect">
            <a:avLst/>
          </a:prstGeom>
        </p:spPr>
        <p:txBody>
          <a:bodyPr wrap="square">
            <a:spAutoFit/>
          </a:bodyPr>
          <a:lstStyle/>
          <a:p>
            <a:pPr algn="ctr"/>
            <a:r>
              <a:rPr lang="nb-NO" sz="1200" dirty="0">
                <a:solidFill>
                  <a:schemeClr val="accent4"/>
                </a:solidFill>
                <a:latin typeface="Georgia" panose="02040502050405020303" pitchFamily="18" charset="0"/>
              </a:rPr>
              <a:t>Prosesseier igangsetter en forbedring</a:t>
            </a:r>
          </a:p>
        </p:txBody>
      </p:sp>
      <p:sp>
        <p:nvSpPr>
          <p:cNvPr id="6" name="Rektangel 5">
            <a:extLst>
              <a:ext uri="{FF2B5EF4-FFF2-40B4-BE49-F238E27FC236}">
                <a16:creationId xmlns:a16="http://schemas.microsoft.com/office/drawing/2014/main" id="{88947C58-3EB9-4A35-87CE-4847D6F9C4B6}"/>
              </a:ext>
            </a:extLst>
          </p:cNvPr>
          <p:cNvSpPr/>
          <p:nvPr/>
        </p:nvSpPr>
        <p:spPr bwMode="auto">
          <a:xfrm>
            <a:off x="7639980" y="5589745"/>
            <a:ext cx="2956408" cy="1112731"/>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nb-NO" sz="2000" dirty="0">
                <a:latin typeface="Arial" charset="0"/>
                <a:ea typeface="ヒラギノ角ゴ Pro W3" charset="-128"/>
                <a:cs typeface="ヒラギノ角ゴ Pro W3" charset="-128"/>
              </a:rPr>
              <a:t>Kladd – lage en ny versjon som er felles i alle regiene</a:t>
            </a:r>
          </a:p>
        </p:txBody>
      </p:sp>
    </p:spTree>
    <p:extLst>
      <p:ext uri="{BB962C8B-B14F-4D97-AF65-F5344CB8AC3E}">
        <p14:creationId xmlns:p14="http://schemas.microsoft.com/office/powerpoint/2010/main" val="3897168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457200" indent="-457200"/>
            <a:r>
              <a:rPr lang="nb-NO" dirty="0"/>
              <a:t>Om prosess XX</a:t>
            </a:r>
            <a:endParaRPr lang="en-GB" i="1" dirty="0"/>
          </a:p>
        </p:txBody>
      </p:sp>
      <p:sp>
        <p:nvSpPr>
          <p:cNvPr id="3" name="Content Placeholder 2"/>
          <p:cNvSpPr>
            <a:spLocks noGrp="1"/>
          </p:cNvSpPr>
          <p:nvPr>
            <p:ph idx="1"/>
          </p:nvPr>
        </p:nvSpPr>
        <p:spPr/>
        <p:txBody>
          <a:bodyPr/>
          <a:lstStyle/>
          <a:p>
            <a:r>
              <a:rPr lang="nb-NO" sz="2400" dirty="0"/>
              <a:t>Prosessens formål: </a:t>
            </a:r>
            <a:r>
              <a:rPr lang="nb-NO" sz="2400" i="1" dirty="0"/>
              <a:t>hvorfor gjør vi dette?</a:t>
            </a:r>
          </a:p>
          <a:p>
            <a:endParaRPr lang="nb-NO" sz="2400" dirty="0"/>
          </a:p>
          <a:p>
            <a:r>
              <a:rPr lang="nb-NO" sz="2400" dirty="0"/>
              <a:t>Hvem er prosessen for? </a:t>
            </a:r>
            <a:r>
              <a:rPr lang="nb-NO" sz="2400" i="1" dirty="0"/>
              <a:t>(Her settes det inn hvem er brukere og sluttbrukere av prosessen)</a:t>
            </a:r>
            <a:endParaRPr lang="nb-NO" i="1" dirty="0"/>
          </a:p>
          <a:p>
            <a:endParaRPr lang="nb-NO" dirty="0"/>
          </a:p>
          <a:p>
            <a:r>
              <a:rPr lang="nb-NO" dirty="0"/>
              <a:t>Mål satt for prosessforbedringen:</a:t>
            </a:r>
          </a:p>
          <a:p>
            <a:pPr marL="0" indent="0">
              <a:buNone/>
            </a:pPr>
            <a:endParaRPr lang="nb-NO" sz="1600" i="1" dirty="0"/>
          </a:p>
          <a:p>
            <a:pPr marL="0" indent="0">
              <a:buNone/>
            </a:pPr>
            <a:r>
              <a:rPr lang="nb-NO" sz="1600" i="1" dirty="0"/>
              <a:t>Eks </a:t>
            </a:r>
          </a:p>
          <a:p>
            <a:pPr marL="0" indent="0">
              <a:buNone/>
            </a:pPr>
            <a:r>
              <a:rPr lang="nb-NO" sz="1600" i="1" dirty="0"/>
              <a:t>Redusere tid</a:t>
            </a:r>
          </a:p>
          <a:p>
            <a:pPr marL="0" indent="0">
              <a:buNone/>
            </a:pPr>
            <a:r>
              <a:rPr lang="nb-NO" sz="1600" i="1" dirty="0"/>
              <a:t>Redusere kost</a:t>
            </a:r>
          </a:p>
          <a:p>
            <a:pPr marL="0" indent="0">
              <a:buNone/>
            </a:pPr>
            <a:r>
              <a:rPr lang="nb-NO" sz="1600" i="1" dirty="0"/>
              <a:t>Øke kvalitet (brukertilfredshet)</a:t>
            </a:r>
          </a:p>
          <a:p>
            <a:endParaRPr lang="nb-NO" dirty="0"/>
          </a:p>
          <a:p>
            <a:pPr marL="0" lvl="1" indent="0">
              <a:buNone/>
            </a:pPr>
            <a:endParaRPr lang="nb-NO" sz="2400" dirty="0"/>
          </a:p>
          <a:p>
            <a:pPr marL="0" indent="0">
              <a:buNone/>
            </a:pPr>
            <a:r>
              <a:rPr lang="nb-NO" dirty="0"/>
              <a:t/>
            </a:r>
            <a:br>
              <a:rPr lang="nb-NO" dirty="0"/>
            </a:br>
            <a:endParaRPr lang="en-GB" dirty="0"/>
          </a:p>
        </p:txBody>
      </p:sp>
    </p:spTree>
    <p:extLst>
      <p:ext uri="{BB962C8B-B14F-4D97-AF65-F5344CB8AC3E}">
        <p14:creationId xmlns:p14="http://schemas.microsoft.com/office/powerpoint/2010/main" val="15007729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5D39FE0-D864-4FBC-96AD-92906CC36C4D}"/>
              </a:ext>
            </a:extLst>
          </p:cNvPr>
          <p:cNvSpPr>
            <a:spLocks noGrp="1"/>
          </p:cNvSpPr>
          <p:nvPr>
            <p:ph type="title"/>
          </p:nvPr>
        </p:nvSpPr>
        <p:spPr/>
        <p:txBody>
          <a:bodyPr/>
          <a:lstStyle/>
          <a:p>
            <a:r>
              <a:rPr lang="nb-NO" dirty="0"/>
              <a:t>Arbeidsverktøy</a:t>
            </a:r>
          </a:p>
        </p:txBody>
      </p:sp>
      <p:pic>
        <p:nvPicPr>
          <p:cNvPr id="4" name="Picture 45">
            <a:extLst>
              <a:ext uri="{FF2B5EF4-FFF2-40B4-BE49-F238E27FC236}">
                <a16:creationId xmlns:a16="http://schemas.microsoft.com/office/drawing/2014/main" id="{6D0E5F5B-C811-484B-9F99-A8338EA67F6A}"/>
              </a:ext>
            </a:extLst>
          </p:cNvPr>
          <p:cNvPicPr>
            <a:picLocks noGrp="1" noChangeAspect="1"/>
          </p:cNvPicPr>
          <p:nvPr>
            <p:ph idx="1"/>
          </p:nvPr>
        </p:nvPicPr>
        <p:blipFill rotWithShape="1">
          <a:blip r:embed="rId3" cstate="print">
            <a:extLst>
              <a:ext uri="{28A0092B-C50C-407E-A947-70E740481C1C}">
                <a14:useLocalDpi xmlns:a14="http://schemas.microsoft.com/office/drawing/2010/main"/>
              </a:ext>
            </a:extLst>
          </a:blip>
          <a:srcRect/>
          <a:stretch/>
        </p:blipFill>
        <p:spPr>
          <a:xfrm>
            <a:off x="2047611" y="2422566"/>
            <a:ext cx="2223655" cy="1005840"/>
          </a:xfrm>
          <a:prstGeom prst="rect">
            <a:avLst/>
          </a:prstGeom>
          <a:ln w="3175">
            <a:solidFill>
              <a:srgbClr val="FFFFFF">
                <a:lumMod val="75000"/>
              </a:srgbClr>
            </a:solidFill>
          </a:ln>
        </p:spPr>
      </p:pic>
      <p:sp>
        <p:nvSpPr>
          <p:cNvPr id="6" name="Rektangel 5">
            <a:extLst>
              <a:ext uri="{FF2B5EF4-FFF2-40B4-BE49-F238E27FC236}">
                <a16:creationId xmlns:a16="http://schemas.microsoft.com/office/drawing/2014/main" id="{1F78B13A-D0D6-40F9-8895-35C9AC2CB7DB}"/>
              </a:ext>
            </a:extLst>
          </p:cNvPr>
          <p:cNvSpPr/>
          <p:nvPr/>
        </p:nvSpPr>
        <p:spPr bwMode="auto">
          <a:xfrm>
            <a:off x="5029199" y="2419400"/>
            <a:ext cx="4926281" cy="139258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defRPr/>
            </a:pPr>
            <a:r>
              <a:rPr lang="nb-NO" sz="2000" b="1" kern="0" dirty="0"/>
              <a:t>Prosessoversikt</a:t>
            </a:r>
          </a:p>
          <a:p>
            <a:pPr lvl="0">
              <a:defRPr/>
            </a:pPr>
            <a:r>
              <a:rPr lang="nb-NO" sz="2000" b="1" kern="0" dirty="0"/>
              <a:t>- En metode for å visualisere og få oversikt over prosessen, utfordringer, og muligheter for forbedring</a:t>
            </a:r>
            <a:endParaRPr lang="nb-NO" kern="0" dirty="0"/>
          </a:p>
        </p:txBody>
      </p:sp>
      <p:sp>
        <p:nvSpPr>
          <p:cNvPr id="7" name="Rektangel 6">
            <a:extLst>
              <a:ext uri="{FF2B5EF4-FFF2-40B4-BE49-F238E27FC236}">
                <a16:creationId xmlns:a16="http://schemas.microsoft.com/office/drawing/2014/main" id="{09DD8857-0098-4154-BD27-A628E6D54513}"/>
              </a:ext>
            </a:extLst>
          </p:cNvPr>
          <p:cNvSpPr/>
          <p:nvPr/>
        </p:nvSpPr>
        <p:spPr bwMode="auto">
          <a:xfrm>
            <a:off x="5029200" y="4599430"/>
            <a:ext cx="4926280" cy="16372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defRPr/>
            </a:pPr>
            <a:r>
              <a:rPr lang="nb-NO" sz="2000" b="1" kern="0" dirty="0"/>
              <a:t>Tidstyver </a:t>
            </a:r>
          </a:p>
          <a:p>
            <a:pPr lvl="0">
              <a:defRPr/>
            </a:pPr>
            <a:r>
              <a:rPr lang="nb-NO" sz="2000" b="1" kern="0" dirty="0"/>
              <a:t>- En måte å identifisere utfordringer, flaskehalser og unødvendige steg i dagens prosess</a:t>
            </a:r>
            <a:endParaRPr lang="nb-NO" kern="0" dirty="0"/>
          </a:p>
        </p:txBody>
      </p:sp>
      <p:pic>
        <p:nvPicPr>
          <p:cNvPr id="81922"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5658" t="12841" r="22500" b="37053"/>
          <a:stretch/>
        </p:blipFill>
        <p:spPr bwMode="auto">
          <a:xfrm>
            <a:off x="2083705" y="4599430"/>
            <a:ext cx="2187561" cy="1637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28443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4mVAU1yvSWC01ugxzVgM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3_.uSWHTOWtAIVe08sG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hjzITmWTT2aR8cNj2owj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3Tf5zOrYQjqbDqkfJQ2n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3">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a:ln>
              <a:noFill/>
            </a:ln>
            <a:solidFill>
              <a:schemeClr val="tx1"/>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a:ln>
              <a:noFill/>
            </a:ln>
            <a:solidFill>
              <a:schemeClr val="tx1"/>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D9D70FDF2920A74AAEC8438D68CFEDD4" ma:contentTypeVersion="6" ma:contentTypeDescription="Opprett et nytt dokument." ma:contentTypeScope="" ma:versionID="67a1757fa6f53f7ef15ab0b6c5920e2a">
  <xsd:schema xmlns:xsd="http://www.w3.org/2001/XMLSchema" xmlns:xs="http://www.w3.org/2001/XMLSchema" xmlns:p="http://schemas.microsoft.com/office/2006/metadata/properties" xmlns:ns2="092abc85-7c52-4ebd-b75b-1f90f941936e" xmlns:ns3="83e36812-88cd-4849-b5bf-044abecbbbe4" targetNamespace="http://schemas.microsoft.com/office/2006/metadata/properties" ma:root="true" ma:fieldsID="a29d18c6ecc6c9ff5fa4f819d1a3a410" ns2:_="" ns3:_="">
    <xsd:import namespace="092abc85-7c52-4ebd-b75b-1f90f941936e"/>
    <xsd:import namespace="83e36812-88cd-4849-b5bf-044abecbbbe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2abc85-7c52-4ebd-b75b-1f90f94193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e36812-88cd-4849-b5bf-044abecbbbe4"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83e36812-88cd-4849-b5bf-044abecbbbe4">
      <UserInfo>
        <DisplayName>Gry Anita Hemsing</DisplayName>
        <AccountId>23</AccountId>
        <AccountType/>
      </UserInfo>
      <UserInfo>
        <DisplayName>Frank Paul Silye</DisplayName>
        <AccountId>25</AccountId>
        <AccountType/>
      </UserInfo>
    </SharedWithUsers>
  </documentManagement>
</p:properties>
</file>

<file path=customXml/itemProps1.xml><?xml version="1.0" encoding="utf-8"?>
<ds:datastoreItem xmlns:ds="http://schemas.openxmlformats.org/officeDocument/2006/customXml" ds:itemID="{4F7F516E-2C54-492C-ABBD-9FFC25D4EADA}">
  <ds:schemaRefs>
    <ds:schemaRef ds:uri="http://schemas.microsoft.com/sharepoint/v3/contenttype/forms"/>
  </ds:schemaRefs>
</ds:datastoreItem>
</file>

<file path=customXml/itemProps2.xml><?xml version="1.0" encoding="utf-8"?>
<ds:datastoreItem xmlns:ds="http://schemas.openxmlformats.org/officeDocument/2006/customXml" ds:itemID="{E48D674E-3AFC-4146-A7D9-D50D9A0C58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2abc85-7c52-4ebd-b75b-1f90f941936e"/>
    <ds:schemaRef ds:uri="83e36812-88cd-4849-b5bf-044abecbbb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37770D0-363A-4876-AE94-4C4BD6293FEB}">
  <ds:schemaRefs>
    <ds:schemaRef ds:uri="092abc85-7c52-4ebd-b75b-1f90f941936e"/>
    <ds:schemaRef ds:uri="http://purl.org/dc/terms/"/>
    <ds:schemaRef ds:uri="http://www.w3.org/XML/1998/namespace"/>
    <ds:schemaRef ds:uri="http://schemas.microsoft.com/office/infopath/2007/PartnerControls"/>
    <ds:schemaRef ds:uri="http://schemas.microsoft.com/office/2006/metadata/properties"/>
    <ds:schemaRef ds:uri="http://schemas.microsoft.com/office/2006/documentManagement/types"/>
    <ds:schemaRef ds:uri="http://purl.org/dc/elements/1.1/"/>
    <ds:schemaRef ds:uri="http://purl.org/dc/dcmitype/"/>
    <ds:schemaRef ds:uri="http://schemas.openxmlformats.org/package/2006/metadata/core-properties"/>
    <ds:schemaRef ds:uri="83e36812-88cd-4849-b5bf-044abecbbbe4"/>
  </ds:schemaRefs>
</ds:datastoreItem>
</file>

<file path=docProps/app.xml><?xml version="1.0" encoding="utf-8"?>
<Properties xmlns="http://schemas.openxmlformats.org/officeDocument/2006/extended-properties" xmlns:vt="http://schemas.openxmlformats.org/officeDocument/2006/docPropsVTypes">
  <Template>Theme3</Template>
  <TotalTime>1388</TotalTime>
  <Words>1146</Words>
  <Application>Microsoft Office PowerPoint</Application>
  <PresentationFormat>Widescreen</PresentationFormat>
  <Paragraphs>213</Paragraphs>
  <Slides>19</Slides>
  <Notes>15</Notes>
  <HiddenSlides>1</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0" baseType="lpstr">
      <vt:lpstr>Arial</vt:lpstr>
      <vt:lpstr>Calibri</vt:lpstr>
      <vt:lpstr>Comic Book</vt:lpstr>
      <vt:lpstr>Georgia</vt:lpstr>
      <vt:lpstr>Segoe UI</vt:lpstr>
      <vt:lpstr>Verdana</vt:lpstr>
      <vt:lpstr>Wingdings</vt:lpstr>
      <vt:lpstr>Wingdings 2</vt:lpstr>
      <vt:lpstr>ヒラギノ角ゴ Pro W3</vt:lpstr>
      <vt:lpstr>Theme3</vt:lpstr>
      <vt:lpstr>think-cell Slide</vt:lpstr>
      <vt:lpstr>Workshop 1</vt:lpstr>
      <vt:lpstr>Tips til forberedelse kartlegging</vt:lpstr>
      <vt:lpstr>PowerPoint Presentation</vt:lpstr>
      <vt:lpstr>Formål og roller</vt:lpstr>
      <vt:lpstr>PowerPoint Presentation</vt:lpstr>
      <vt:lpstr>Bakgrunn og fremdriftsplan</vt:lpstr>
      <vt:lpstr>Prosessforbedring</vt:lpstr>
      <vt:lpstr>Om prosess XX</vt:lpstr>
      <vt:lpstr>Arbeidsverktøy</vt:lpstr>
      <vt:lpstr>Prosessoversikt</vt:lpstr>
      <vt:lpstr>PowerPoint Presentation</vt:lpstr>
      <vt:lpstr>PowerPoint Presentation</vt:lpstr>
      <vt:lpstr>Kartlegging – gråpapir med lapper </vt:lpstr>
      <vt:lpstr>Mulige spørsmål i kartlegging av prosessen</vt:lpstr>
      <vt:lpstr>Utfordringer</vt:lpstr>
      <vt:lpstr>Veien videre</vt:lpstr>
      <vt:lpstr>Legg inn mulige verktøy</vt:lpstr>
      <vt:lpstr>PowerPoint Presentation</vt:lpstr>
      <vt:lpstr>Brukerreiser, tjenestedesign, personas</vt:lpstr>
    </vt:vector>
  </TitlesOfParts>
  <Company>Universitetet i Osl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ecilie Andersen</dc:creator>
  <cp:lastModifiedBy>Cecilie Andersen</cp:lastModifiedBy>
  <cp:revision>146</cp:revision>
  <cp:lastPrinted>2018-10-18T13:34:56Z</cp:lastPrinted>
  <dcterms:created xsi:type="dcterms:W3CDTF">2018-10-04T10:04:02Z</dcterms:created>
  <dcterms:modified xsi:type="dcterms:W3CDTF">2018-12-13T11:1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D70FDF2920A74AAEC8438D68CFEDD4</vt:lpwstr>
  </property>
</Properties>
</file>